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0" r:id="rId1"/>
  </p:sldMasterIdLst>
  <p:notesMasterIdLst>
    <p:notesMasterId r:id="rId10"/>
  </p:notesMasterIdLst>
  <p:sldIdLst>
    <p:sldId id="256" r:id="rId2"/>
    <p:sldId id="290" r:id="rId3"/>
    <p:sldId id="282" r:id="rId4"/>
    <p:sldId id="278" r:id="rId5"/>
    <p:sldId id="288" r:id="rId6"/>
    <p:sldId id="289" r:id="rId7"/>
    <p:sldId id="263" r:id="rId8"/>
    <p:sldId id="291" r:id="rId9"/>
  </p:sldIdLst>
  <p:sldSz cx="9144000" cy="5143500" type="screen16x9"/>
  <p:notesSz cx="6858000" cy="9144000"/>
  <p:embeddedFontLst>
    <p:embeddedFont>
      <p:font typeface="Arial Unicode MS" panose="020B0604020202020204" pitchFamily="34" charset="-128"/>
      <p:regular r:id="rId11"/>
    </p:embeddedFont>
    <p:embeddedFont>
      <p:font typeface="Fira Sans" panose="020B0503050000020004" pitchFamily="34" charset="0"/>
      <p:regular r:id="rId12"/>
      <p:bold r:id="rId13"/>
      <p:italic r:id="rId14"/>
      <p:boldItalic r:id="rId15"/>
    </p:embeddedFont>
    <p:embeddedFont>
      <p:font typeface="Fira Sans Extra Condensed" panose="020B0503050000020004" pitchFamily="34" charset="0"/>
      <p:regular r:id="rId16"/>
      <p:bold r:id="rId17"/>
      <p:italic r:id="rId18"/>
      <p:boldItalic r:id="rId19"/>
    </p:embeddedFont>
    <p:embeddedFont>
      <p:font typeface="Fira Sans Extra Condensed Medium" panose="020B0604020202020204" charset="0"/>
      <p:regular r:id="rId20"/>
      <p:bold r:id="rId21"/>
      <p:italic r:id="rId22"/>
      <p:boldItalic r:id="rId23"/>
    </p:embeddedFont>
    <p:embeddedFont>
      <p:font typeface="Roboto" panose="02000000000000000000" pitchFamily="2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CE29A4-B320-401A-BD95-1C95EA60FD31}" v="106" dt="2022-08-22T09:55:01.481"/>
  </p1510:revLst>
</p1510:revInfo>
</file>

<file path=ppt/tableStyles.xml><?xml version="1.0" encoding="utf-8"?>
<a:tblStyleLst xmlns:a="http://schemas.openxmlformats.org/drawingml/2006/main" def="{BB4C2380-4A70-421E-8D33-FDC860D2176E}">
  <a:tblStyle styleId="{BB4C2380-4A70-421E-8D33-FDC860D2176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91" autoAdjust="0"/>
    <p:restoredTop sz="94660"/>
  </p:normalViewPr>
  <p:slideViewPr>
    <p:cSldViewPr snapToGrid="0" showGuides="1">
      <p:cViewPr varScale="1">
        <p:scale>
          <a:sx n="99" d="100"/>
          <a:sy n="99" d="100"/>
        </p:scale>
        <p:origin x="1061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tags" Target="tags/tag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font" Target="fonts/font17.fntdata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ktor Orlov" userId="989cfd0c8e20da6b" providerId="LiveId" clId="{18CE29A4-B320-401A-BD95-1C95EA60FD31}"/>
    <pc:docChg chg="undo custSel delSld modSld">
      <pc:chgData name="Viktor Orlov" userId="989cfd0c8e20da6b" providerId="LiveId" clId="{18CE29A4-B320-401A-BD95-1C95EA60FD31}" dt="2022-08-22T09:55:01.466" v="228" actId="1035"/>
      <pc:docMkLst>
        <pc:docMk/>
      </pc:docMkLst>
      <pc:sldChg chg="addSp delSp modSp mod">
        <pc:chgData name="Viktor Orlov" userId="989cfd0c8e20da6b" providerId="LiveId" clId="{18CE29A4-B320-401A-BD95-1C95EA60FD31}" dt="2022-08-22T09:04:55.241" v="119" actId="3064"/>
        <pc:sldMkLst>
          <pc:docMk/>
          <pc:sldMk cId="0" sldId="256"/>
        </pc:sldMkLst>
        <pc:spChg chg="add del mod">
          <ac:chgData name="Viktor Orlov" userId="989cfd0c8e20da6b" providerId="LiveId" clId="{18CE29A4-B320-401A-BD95-1C95EA60FD31}" dt="2022-08-22T08:57:53.555" v="30" actId="478"/>
          <ac:spMkLst>
            <pc:docMk/>
            <pc:sldMk cId="0" sldId="256"/>
            <ac:spMk id="7" creationId="{DF1778DE-06A4-3C9D-F720-4D50935D8F0A}"/>
          </ac:spMkLst>
        </pc:spChg>
        <pc:spChg chg="add del mod">
          <ac:chgData name="Viktor Orlov" userId="989cfd0c8e20da6b" providerId="LiveId" clId="{18CE29A4-B320-401A-BD95-1C95EA60FD31}" dt="2022-08-22T09:04:55.241" v="119" actId="3064"/>
          <ac:spMkLst>
            <pc:docMk/>
            <pc:sldMk cId="0" sldId="256"/>
            <ac:spMk id="43" creationId="{5ABA7EDF-166F-4263-ABA5-D553A83F22BF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56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57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58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59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60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61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63" creationId="{00000000-0000-0000-0000-000000000000}"/>
          </ac:spMkLst>
        </pc:spChg>
        <pc:spChg chg="del mod">
          <ac:chgData name="Viktor Orlov" userId="989cfd0c8e20da6b" providerId="LiveId" clId="{18CE29A4-B320-401A-BD95-1C95EA60FD31}" dt="2022-08-22T08:57:50.737" v="29" actId="478"/>
          <ac:spMkLst>
            <pc:docMk/>
            <pc:sldMk cId="0" sldId="256"/>
            <ac:spMk id="64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3:43.719" v="98" actId="1076"/>
          <ac:spMkLst>
            <pc:docMk/>
            <pc:sldMk cId="0" sldId="256"/>
            <ac:spMk id="65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67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68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69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70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71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72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73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74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75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77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78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79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80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81" creationId="{00000000-0000-0000-0000-000000000000}"/>
          </ac:spMkLst>
        </pc:spChg>
        <pc:spChg chg="mod topLvl">
          <ac:chgData name="Viktor Orlov" userId="989cfd0c8e20da6b" providerId="LiveId" clId="{18CE29A4-B320-401A-BD95-1C95EA60FD31}" dt="2022-08-22T09:01:28.672" v="61" actId="338"/>
          <ac:spMkLst>
            <pc:docMk/>
            <pc:sldMk cId="0" sldId="256"/>
            <ac:spMk id="82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84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86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87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88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89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90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91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92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93" creationId="{00000000-0000-0000-0000-000000000000}"/>
          </ac:spMkLst>
        </pc:spChg>
        <pc:spChg chg="mod">
          <ac:chgData name="Viktor Orlov" userId="989cfd0c8e20da6b" providerId="LiveId" clId="{18CE29A4-B320-401A-BD95-1C95EA60FD31}" dt="2022-08-22T09:01:39.730" v="63" actId="164"/>
          <ac:spMkLst>
            <pc:docMk/>
            <pc:sldMk cId="0" sldId="256"/>
            <ac:spMk id="94" creationId="{00000000-0000-0000-0000-000000000000}"/>
          </ac:spMkLst>
        </pc:spChg>
        <pc:grpChg chg="add mod">
          <ac:chgData name="Viktor Orlov" userId="989cfd0c8e20da6b" providerId="LiveId" clId="{18CE29A4-B320-401A-BD95-1C95EA60FD31}" dt="2022-08-22T09:01:31.470" v="62" actId="164"/>
          <ac:grpSpMkLst>
            <pc:docMk/>
            <pc:sldMk cId="0" sldId="256"/>
            <ac:grpSpMk id="8" creationId="{15FC8A2F-E671-6ECE-B549-90119085066D}"/>
          </ac:grpSpMkLst>
        </pc:grpChg>
        <pc:grpChg chg="add mod">
          <ac:chgData name="Viktor Orlov" userId="989cfd0c8e20da6b" providerId="LiveId" clId="{18CE29A4-B320-401A-BD95-1C95EA60FD31}" dt="2022-08-22T09:01:31.470" v="62" actId="164"/>
          <ac:grpSpMkLst>
            <pc:docMk/>
            <pc:sldMk cId="0" sldId="256"/>
            <ac:grpSpMk id="9" creationId="{2CA1AC7D-6915-E66A-EB8C-36DC3444EA55}"/>
          </ac:grpSpMkLst>
        </pc:grpChg>
        <pc:grpChg chg="add mod">
          <ac:chgData name="Viktor Orlov" userId="989cfd0c8e20da6b" providerId="LiveId" clId="{18CE29A4-B320-401A-BD95-1C95EA60FD31}" dt="2022-08-22T09:01:42.843" v="64" actId="164"/>
          <ac:grpSpMkLst>
            <pc:docMk/>
            <pc:sldMk cId="0" sldId="256"/>
            <ac:grpSpMk id="10" creationId="{D3550F59-E76E-6E5C-1F29-577B44600D4F}"/>
          </ac:grpSpMkLst>
        </pc:grpChg>
        <pc:grpChg chg="add mod">
          <ac:chgData name="Viktor Orlov" userId="989cfd0c8e20da6b" providerId="LiveId" clId="{18CE29A4-B320-401A-BD95-1C95EA60FD31}" dt="2022-08-22T09:01:42.843" v="64" actId="164"/>
          <ac:grpSpMkLst>
            <pc:docMk/>
            <pc:sldMk cId="0" sldId="256"/>
            <ac:grpSpMk id="11" creationId="{70CDFC97-523B-078E-3CB8-5E1EBA2A7099}"/>
          </ac:grpSpMkLst>
        </pc:grpChg>
        <pc:grpChg chg="add mod">
          <ac:chgData name="Viktor Orlov" userId="989cfd0c8e20da6b" providerId="LiveId" clId="{18CE29A4-B320-401A-BD95-1C95EA60FD31}" dt="2022-08-22T09:02:03.085" v="72" actId="1035"/>
          <ac:grpSpMkLst>
            <pc:docMk/>
            <pc:sldMk cId="0" sldId="256"/>
            <ac:grpSpMk id="12" creationId="{43AFAAC6-59E7-2728-84A3-2DF73304FBB0}"/>
          </ac:grpSpMkLst>
        </pc:grpChg>
        <pc:grpChg chg="del">
          <ac:chgData name="Viktor Orlov" userId="989cfd0c8e20da6b" providerId="LiveId" clId="{18CE29A4-B320-401A-BD95-1C95EA60FD31}" dt="2022-08-22T09:01:19.338" v="60" actId="165"/>
          <ac:grpSpMkLst>
            <pc:docMk/>
            <pc:sldMk cId="0" sldId="256"/>
            <ac:grpSpMk id="55" creationId="{00000000-0000-0000-0000-000000000000}"/>
          </ac:grpSpMkLst>
        </pc:grpChg>
        <pc:grpChg chg="del">
          <ac:chgData name="Viktor Orlov" userId="989cfd0c8e20da6b" providerId="LiveId" clId="{18CE29A4-B320-401A-BD95-1C95EA60FD31}" dt="2022-08-22T09:01:19.338" v="60" actId="165"/>
          <ac:grpSpMkLst>
            <pc:docMk/>
            <pc:sldMk cId="0" sldId="256"/>
            <ac:grpSpMk id="76" creationId="{00000000-0000-0000-0000-000000000000}"/>
          </ac:grpSpMkLst>
        </pc:grpChg>
        <pc:picChg chg="add mod">
          <ac:chgData name="Viktor Orlov" userId="989cfd0c8e20da6b" providerId="LiveId" clId="{18CE29A4-B320-401A-BD95-1C95EA60FD31}" dt="2022-08-22T08:56:44.749" v="22" actId="1076"/>
          <ac:picMkLst>
            <pc:docMk/>
            <pc:sldMk cId="0" sldId="256"/>
            <ac:picMk id="3" creationId="{D71EA7A1-1350-86A5-1E57-0DEADB33F01F}"/>
          </ac:picMkLst>
        </pc:picChg>
        <pc:picChg chg="add mod">
          <ac:chgData name="Viktor Orlov" userId="989cfd0c8e20da6b" providerId="LiveId" clId="{18CE29A4-B320-401A-BD95-1C95EA60FD31}" dt="2022-08-22T08:57:28.770" v="27" actId="1076"/>
          <ac:picMkLst>
            <pc:docMk/>
            <pc:sldMk cId="0" sldId="256"/>
            <ac:picMk id="4" creationId="{176A0E86-F799-B201-D0EF-86F12FE306EC}"/>
          </ac:picMkLst>
        </pc:picChg>
        <pc:picChg chg="add mod">
          <ac:chgData name="Viktor Orlov" userId="989cfd0c8e20da6b" providerId="LiveId" clId="{18CE29A4-B320-401A-BD95-1C95EA60FD31}" dt="2022-08-22T08:56:40.123" v="21" actId="1076"/>
          <ac:picMkLst>
            <pc:docMk/>
            <pc:sldMk cId="0" sldId="256"/>
            <ac:picMk id="5" creationId="{24B0B152-7072-96D2-FF71-2D5359932DAE}"/>
          </ac:picMkLst>
        </pc:picChg>
      </pc:sldChg>
      <pc:sldChg chg="del">
        <pc:chgData name="Viktor Orlov" userId="989cfd0c8e20da6b" providerId="LiveId" clId="{18CE29A4-B320-401A-BD95-1C95EA60FD31}" dt="2022-08-22T09:51:13.215" v="136" actId="47"/>
        <pc:sldMkLst>
          <pc:docMk/>
          <pc:sldMk cId="2555790160" sldId="287"/>
        </pc:sldMkLst>
      </pc:sldChg>
      <pc:sldChg chg="addSp delSp modSp mod">
        <pc:chgData name="Viktor Orlov" userId="989cfd0c8e20da6b" providerId="LiveId" clId="{18CE29A4-B320-401A-BD95-1C95EA60FD31}" dt="2022-08-22T09:50:22.344" v="135" actId="14100"/>
        <pc:sldMkLst>
          <pc:docMk/>
          <pc:sldMk cId="1955943111" sldId="288"/>
        </pc:sldMkLst>
        <pc:spChg chg="mod ord">
          <ac:chgData name="Viktor Orlov" userId="989cfd0c8e20da6b" providerId="LiveId" clId="{18CE29A4-B320-401A-BD95-1C95EA60FD31}" dt="2022-08-22T09:50:22.344" v="135" actId="14100"/>
          <ac:spMkLst>
            <pc:docMk/>
            <pc:sldMk cId="1955943111" sldId="288"/>
            <ac:spMk id="9" creationId="{06CD447B-2F28-4966-B9E6-5430CE05907C}"/>
          </ac:spMkLst>
        </pc:spChg>
        <pc:picChg chg="add mod">
          <ac:chgData name="Viktor Orlov" userId="989cfd0c8e20da6b" providerId="LiveId" clId="{18CE29A4-B320-401A-BD95-1C95EA60FD31}" dt="2022-08-22T09:43:34.376" v="126" actId="1076"/>
          <ac:picMkLst>
            <pc:docMk/>
            <pc:sldMk cId="1955943111" sldId="288"/>
            <ac:picMk id="1026" creationId="{62E319F2-EED5-D52C-9C9C-326F837A4801}"/>
          </ac:picMkLst>
        </pc:picChg>
        <pc:picChg chg="del mod">
          <ac:chgData name="Viktor Orlov" userId="989cfd0c8e20da6b" providerId="LiveId" clId="{18CE29A4-B320-401A-BD95-1C95EA60FD31}" dt="2022-08-22T09:43:21.615" v="124" actId="478"/>
          <ac:picMkLst>
            <pc:docMk/>
            <pc:sldMk cId="1955943111" sldId="288"/>
            <ac:picMk id="5124" creationId="{D6B916D6-5C4B-4D9C-A71B-1C6132DCBC50}"/>
          </ac:picMkLst>
        </pc:picChg>
      </pc:sldChg>
      <pc:sldChg chg="addSp delSp modSp mod">
        <pc:chgData name="Viktor Orlov" userId="989cfd0c8e20da6b" providerId="LiveId" clId="{18CE29A4-B320-401A-BD95-1C95EA60FD31}" dt="2022-08-22T09:55:01.466" v="228" actId="1035"/>
        <pc:sldMkLst>
          <pc:docMk/>
          <pc:sldMk cId="1469904514" sldId="289"/>
        </pc:sldMkLst>
        <pc:spChg chg="mod">
          <ac:chgData name="Viktor Orlov" userId="989cfd0c8e20da6b" providerId="LiveId" clId="{18CE29A4-B320-401A-BD95-1C95EA60FD31}" dt="2022-08-22T09:53:49.099" v="161" actId="122"/>
          <ac:spMkLst>
            <pc:docMk/>
            <pc:sldMk cId="1469904514" sldId="289"/>
            <ac:spMk id="14" creationId="{9729D62F-80A8-4123-A026-8A4CC9B22A20}"/>
          </ac:spMkLst>
        </pc:spChg>
        <pc:spChg chg="mod">
          <ac:chgData name="Viktor Orlov" userId="989cfd0c8e20da6b" providerId="LiveId" clId="{18CE29A4-B320-401A-BD95-1C95EA60FD31}" dt="2022-08-22T09:53:59.005" v="164" actId="122"/>
          <ac:spMkLst>
            <pc:docMk/>
            <pc:sldMk cId="1469904514" sldId="289"/>
            <ac:spMk id="21" creationId="{1DA89F3E-CB02-4452-A02A-AA1A0DF23C60}"/>
          </ac:spMkLst>
        </pc:spChg>
        <pc:spChg chg="mod">
          <ac:chgData name="Viktor Orlov" userId="989cfd0c8e20da6b" providerId="LiveId" clId="{18CE29A4-B320-401A-BD95-1C95EA60FD31}" dt="2022-08-22T09:54:15.386" v="168" actId="122"/>
          <ac:spMkLst>
            <pc:docMk/>
            <pc:sldMk cId="1469904514" sldId="289"/>
            <ac:spMk id="22" creationId="{16C95964-CA28-436D-BF43-88E4DE53112D}"/>
          </ac:spMkLst>
        </pc:spChg>
        <pc:picChg chg="add mod">
          <ac:chgData name="Viktor Orlov" userId="989cfd0c8e20da6b" providerId="LiveId" clId="{18CE29A4-B320-401A-BD95-1C95EA60FD31}" dt="2022-08-22T09:54:49.814" v="225" actId="167"/>
          <ac:picMkLst>
            <pc:docMk/>
            <pc:sldMk cId="1469904514" sldId="289"/>
            <ac:picMk id="2050" creationId="{CCD79465-F476-0BD0-274D-43F527174B2A}"/>
          </ac:picMkLst>
        </pc:picChg>
        <pc:picChg chg="add mod">
          <ac:chgData name="Viktor Orlov" userId="989cfd0c8e20da6b" providerId="LiveId" clId="{18CE29A4-B320-401A-BD95-1C95EA60FD31}" dt="2022-08-22T09:55:01.466" v="228" actId="1035"/>
          <ac:picMkLst>
            <pc:docMk/>
            <pc:sldMk cId="1469904514" sldId="289"/>
            <ac:picMk id="2052" creationId="{506667BD-AAD0-046C-B5D5-40734C1022F8}"/>
          </ac:picMkLst>
        </pc:picChg>
        <pc:picChg chg="add mod">
          <ac:chgData name="Viktor Orlov" userId="989cfd0c8e20da6b" providerId="LiveId" clId="{18CE29A4-B320-401A-BD95-1C95EA60FD31}" dt="2022-08-22T09:54:19.480" v="173" actId="1036"/>
          <ac:picMkLst>
            <pc:docMk/>
            <pc:sldMk cId="1469904514" sldId="289"/>
            <ac:picMk id="2054" creationId="{128DD60A-359D-A2B9-EE80-23490D311615}"/>
          </ac:picMkLst>
        </pc:picChg>
        <pc:picChg chg="del">
          <ac:chgData name="Viktor Orlov" userId="989cfd0c8e20da6b" providerId="LiveId" clId="{18CE29A4-B320-401A-BD95-1C95EA60FD31}" dt="2022-08-22T09:52:15.958" v="137" actId="478"/>
          <ac:picMkLst>
            <pc:docMk/>
            <pc:sldMk cId="1469904514" sldId="289"/>
            <ac:picMk id="6154" creationId="{868F4270-18D4-46FC-B5BD-7F7491AA988B}"/>
          </ac:picMkLst>
        </pc:picChg>
        <pc:picChg chg="del">
          <ac:chgData name="Viktor Orlov" userId="989cfd0c8e20da6b" providerId="LiveId" clId="{18CE29A4-B320-401A-BD95-1C95EA60FD31}" dt="2022-08-22T09:52:52.581" v="151" actId="478"/>
          <ac:picMkLst>
            <pc:docMk/>
            <pc:sldMk cId="1469904514" sldId="289"/>
            <ac:picMk id="6156" creationId="{A89CDF49-9157-46E9-9638-3B1C62A12864}"/>
          </ac:picMkLst>
        </pc:picChg>
        <pc:picChg chg="del">
          <ac:chgData name="Viktor Orlov" userId="989cfd0c8e20da6b" providerId="LiveId" clId="{18CE29A4-B320-401A-BD95-1C95EA60FD31}" dt="2022-08-22T09:53:15.105" v="155" actId="478"/>
          <ac:picMkLst>
            <pc:docMk/>
            <pc:sldMk cId="1469904514" sldId="289"/>
            <ac:picMk id="6158" creationId="{7E0E472F-50FD-4241-AA99-ED450EB8445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ga00a88a2fe_0_3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" name="Google Shape;53;ga00a88a2fe_0_3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7" name="Google Shape;2477;g784e8a4504_0_24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78" name="Google Shape;2478;g784e8a4504_0_24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5" name="Google Shape;2315;g784e8a4504_0_20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16" name="Google Shape;2316;g784e8a4504_0_20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" name="Google Shape;1154;gac9eb79a83_1_1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55" name="Google Shape;1155;gac9eb79a83_1_19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2287500" y="1403700"/>
            <a:ext cx="4569000" cy="128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3227400" y="2688000"/>
            <a:ext cx="2689200" cy="105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457200" y="411475"/>
            <a:ext cx="8229600" cy="33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3000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34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5" name="Google Shape;35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6" name="Google Shape;36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3" name="Google Shape;43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FFCB3F-BB66-4C81-83BF-4A1996208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02679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6" progId="TCLayout.ActiveDocument.1">
                  <p:embed/>
                </p:oleObj>
              </mc:Choice>
              <mc:Fallback>
                <p:oleObj name="think-cell Slide" r:id="rId1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FFCB3F-BB66-4C81-83BF-4A1996208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●"/>
              <a:defRPr sz="1800"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EA4335"/>
          </p15:clr>
        </p15:guide>
        <p15:guide id="2" pos="5472">
          <p15:clr>
            <a:srgbClr val="EA4335"/>
          </p15:clr>
        </p15:guide>
        <p15:guide id="3" orient="horz" pos="259">
          <p15:clr>
            <a:srgbClr val="EA4335"/>
          </p15:clr>
        </p15:guide>
        <p15:guide id="4" orient="horz" pos="2981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2BB7BA-5F9E-41E4-9934-9805DF8297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57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2BB7BA-5F9E-41E4-9934-9805DF8297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Google Shape;62;p15"/>
          <p:cNvSpPr/>
          <p:nvPr/>
        </p:nvSpPr>
        <p:spPr>
          <a:xfrm>
            <a:off x="1445950" y="3290550"/>
            <a:ext cx="556800" cy="556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5"/>
          <p:cNvSpPr txBox="1">
            <a:spLocks noGrp="1"/>
          </p:cNvSpPr>
          <p:nvPr>
            <p:ph type="ctrTitle"/>
          </p:nvPr>
        </p:nvSpPr>
        <p:spPr>
          <a:xfrm>
            <a:off x="5300420" y="418729"/>
            <a:ext cx="3386380" cy="275950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sz="9600" dirty="0">
                <a:solidFill>
                  <a:srgbClr val="2E3A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ira Sans" panose="020B0604020202020204" charset="0"/>
              </a:rPr>
              <a:t>A/B-</a:t>
            </a:r>
            <a:r>
              <a:rPr lang="ru-RU" sz="9600" dirty="0">
                <a:solidFill>
                  <a:srgbClr val="2E3A4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ira Sans" panose="020B0604020202020204" charset="0"/>
              </a:rPr>
              <a:t>тест</a:t>
            </a:r>
          </a:p>
        </p:txBody>
      </p:sp>
      <p:sp>
        <p:nvSpPr>
          <p:cNvPr id="66" name="Google Shape;66;p15"/>
          <p:cNvSpPr txBox="1">
            <a:spLocks noGrp="1"/>
          </p:cNvSpPr>
          <p:nvPr>
            <p:ph type="ctrTitle"/>
          </p:nvPr>
        </p:nvSpPr>
        <p:spPr>
          <a:xfrm>
            <a:off x="1480528" y="3382975"/>
            <a:ext cx="487800" cy="372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A</a:t>
            </a:r>
            <a:endParaRPr sz="3000">
              <a:solidFill>
                <a:schemeClr val="lt1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83" name="Google Shape;83;p15"/>
          <p:cNvSpPr/>
          <p:nvPr/>
        </p:nvSpPr>
        <p:spPr>
          <a:xfrm>
            <a:off x="3765225" y="3290550"/>
            <a:ext cx="556800" cy="5568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15"/>
          <p:cNvSpPr txBox="1">
            <a:spLocks noGrp="1"/>
          </p:cNvSpPr>
          <p:nvPr>
            <p:ph type="ctrTitle"/>
          </p:nvPr>
        </p:nvSpPr>
        <p:spPr>
          <a:xfrm>
            <a:off x="3799803" y="3382975"/>
            <a:ext cx="487800" cy="372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000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B</a:t>
            </a:r>
            <a:endParaRPr sz="3000">
              <a:solidFill>
                <a:schemeClr val="lt1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43AFAAC6-59E7-2728-84A3-2DF73304FBB0}"/>
              </a:ext>
            </a:extLst>
          </p:cNvPr>
          <p:cNvGrpSpPr/>
          <p:nvPr/>
        </p:nvGrpSpPr>
        <p:grpSpPr>
          <a:xfrm>
            <a:off x="525742" y="1551069"/>
            <a:ext cx="4048186" cy="3120228"/>
            <a:chOff x="859973" y="1011625"/>
            <a:chExt cx="4048186" cy="3120228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D3550F59-E76E-6E5C-1F29-577B44600D4F}"/>
                </a:ext>
              </a:extLst>
            </p:cNvPr>
            <p:cNvGrpSpPr/>
            <p:nvPr/>
          </p:nvGrpSpPr>
          <p:grpSpPr>
            <a:xfrm>
              <a:off x="859973" y="2398345"/>
              <a:ext cx="4048186" cy="1733508"/>
              <a:chOff x="859973" y="2398345"/>
              <a:chExt cx="4048186" cy="1733508"/>
            </a:xfrm>
          </p:grpSpPr>
          <p:grpSp>
            <p:nvGrpSpPr>
              <p:cNvPr id="9" name="Группа 8">
                <a:extLst>
                  <a:ext uri="{FF2B5EF4-FFF2-40B4-BE49-F238E27FC236}">
                    <a16:creationId xmlns:a16="http://schemas.microsoft.com/office/drawing/2014/main" id="{2CA1AC7D-6915-E66A-EB8C-36DC3444EA55}"/>
                  </a:ext>
                </a:extLst>
              </p:cNvPr>
              <p:cNvGrpSpPr/>
              <p:nvPr/>
            </p:nvGrpSpPr>
            <p:grpSpPr>
              <a:xfrm>
                <a:off x="859973" y="2398345"/>
                <a:ext cx="1728911" cy="1733508"/>
                <a:chOff x="859973" y="2398345"/>
                <a:chExt cx="1728911" cy="1733508"/>
              </a:xfrm>
            </p:grpSpPr>
            <p:sp>
              <p:nvSpPr>
                <p:cNvPr id="56" name="Google Shape;56;p15"/>
                <p:cNvSpPr/>
                <p:nvPr/>
              </p:nvSpPr>
              <p:spPr>
                <a:xfrm>
                  <a:off x="859973" y="2398345"/>
                  <a:ext cx="1728911" cy="1733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58" h="11689" extrusionOk="0">
                      <a:moveTo>
                        <a:pt x="10617" y="662"/>
                      </a:moveTo>
                      <a:cubicBezTo>
                        <a:pt x="10806" y="662"/>
                        <a:pt x="10964" y="820"/>
                        <a:pt x="10964" y="1009"/>
                      </a:cubicBezTo>
                      <a:lnTo>
                        <a:pt x="10964" y="2710"/>
                      </a:lnTo>
                      <a:lnTo>
                        <a:pt x="662" y="2710"/>
                      </a:lnTo>
                      <a:lnTo>
                        <a:pt x="662" y="1009"/>
                      </a:lnTo>
                      <a:cubicBezTo>
                        <a:pt x="662" y="820"/>
                        <a:pt x="819" y="662"/>
                        <a:pt x="1008" y="662"/>
                      </a:cubicBezTo>
                      <a:close/>
                      <a:moveTo>
                        <a:pt x="10933" y="3372"/>
                      </a:moveTo>
                      <a:lnTo>
                        <a:pt x="10933" y="9232"/>
                      </a:lnTo>
                      <a:cubicBezTo>
                        <a:pt x="10964" y="9484"/>
                        <a:pt x="10806" y="9610"/>
                        <a:pt x="10617" y="9610"/>
                      </a:cubicBezTo>
                      <a:lnTo>
                        <a:pt x="8916" y="9610"/>
                      </a:lnTo>
                      <a:lnTo>
                        <a:pt x="8570" y="9232"/>
                      </a:lnTo>
                      <a:cubicBezTo>
                        <a:pt x="8601" y="9169"/>
                        <a:pt x="8664" y="9043"/>
                        <a:pt x="8696" y="8917"/>
                      </a:cubicBezTo>
                      <a:lnTo>
                        <a:pt x="9200" y="8917"/>
                      </a:lnTo>
                      <a:cubicBezTo>
                        <a:pt x="9389" y="8917"/>
                        <a:pt x="9546" y="8759"/>
                        <a:pt x="9546" y="8570"/>
                      </a:cubicBezTo>
                      <a:lnTo>
                        <a:pt x="9546" y="7184"/>
                      </a:lnTo>
                      <a:cubicBezTo>
                        <a:pt x="9546" y="6995"/>
                        <a:pt x="9389" y="6837"/>
                        <a:pt x="9200" y="6837"/>
                      </a:cubicBezTo>
                      <a:lnTo>
                        <a:pt x="8696" y="6837"/>
                      </a:lnTo>
                      <a:cubicBezTo>
                        <a:pt x="8664" y="6711"/>
                        <a:pt x="8601" y="6648"/>
                        <a:pt x="8570" y="6522"/>
                      </a:cubicBezTo>
                      <a:lnTo>
                        <a:pt x="8916" y="6176"/>
                      </a:lnTo>
                      <a:cubicBezTo>
                        <a:pt x="9042" y="6050"/>
                        <a:pt x="9042" y="5798"/>
                        <a:pt x="8916" y="5703"/>
                      </a:cubicBezTo>
                      <a:lnTo>
                        <a:pt x="7940" y="4695"/>
                      </a:lnTo>
                      <a:cubicBezTo>
                        <a:pt x="7877" y="4648"/>
                        <a:pt x="7790" y="4624"/>
                        <a:pt x="7703" y="4624"/>
                      </a:cubicBezTo>
                      <a:cubicBezTo>
                        <a:pt x="7617" y="4624"/>
                        <a:pt x="7530" y="4648"/>
                        <a:pt x="7467" y="4695"/>
                      </a:cubicBezTo>
                      <a:lnTo>
                        <a:pt x="7120" y="5073"/>
                      </a:lnTo>
                      <a:cubicBezTo>
                        <a:pt x="7026" y="5041"/>
                        <a:pt x="6931" y="4978"/>
                        <a:pt x="6805" y="4947"/>
                      </a:cubicBezTo>
                      <a:lnTo>
                        <a:pt x="6805" y="4443"/>
                      </a:lnTo>
                      <a:cubicBezTo>
                        <a:pt x="6805" y="4222"/>
                        <a:pt x="6648" y="4065"/>
                        <a:pt x="6459" y="4065"/>
                      </a:cubicBezTo>
                      <a:lnTo>
                        <a:pt x="5073" y="4065"/>
                      </a:lnTo>
                      <a:cubicBezTo>
                        <a:pt x="4884" y="4065"/>
                        <a:pt x="4726" y="4222"/>
                        <a:pt x="4726" y="4443"/>
                      </a:cubicBezTo>
                      <a:lnTo>
                        <a:pt x="4726" y="4947"/>
                      </a:lnTo>
                      <a:cubicBezTo>
                        <a:pt x="4600" y="4978"/>
                        <a:pt x="4506" y="5010"/>
                        <a:pt x="4411" y="5073"/>
                      </a:cubicBezTo>
                      <a:lnTo>
                        <a:pt x="4033" y="4695"/>
                      </a:lnTo>
                      <a:cubicBezTo>
                        <a:pt x="3986" y="4648"/>
                        <a:pt x="3899" y="4624"/>
                        <a:pt x="3808" y="4624"/>
                      </a:cubicBezTo>
                      <a:cubicBezTo>
                        <a:pt x="3718" y="4624"/>
                        <a:pt x="3623" y="4648"/>
                        <a:pt x="3560" y="4695"/>
                      </a:cubicBezTo>
                      <a:lnTo>
                        <a:pt x="2584" y="5703"/>
                      </a:lnTo>
                      <a:cubicBezTo>
                        <a:pt x="2458" y="5829"/>
                        <a:pt x="2458" y="6050"/>
                        <a:pt x="2584" y="6176"/>
                      </a:cubicBezTo>
                      <a:lnTo>
                        <a:pt x="2930" y="6522"/>
                      </a:lnTo>
                      <a:cubicBezTo>
                        <a:pt x="2899" y="6585"/>
                        <a:pt x="2867" y="6711"/>
                        <a:pt x="2836" y="6837"/>
                      </a:cubicBezTo>
                      <a:lnTo>
                        <a:pt x="2300" y="6837"/>
                      </a:lnTo>
                      <a:cubicBezTo>
                        <a:pt x="2111" y="6837"/>
                        <a:pt x="1954" y="6995"/>
                        <a:pt x="1954" y="7184"/>
                      </a:cubicBezTo>
                      <a:lnTo>
                        <a:pt x="1954" y="8570"/>
                      </a:lnTo>
                      <a:cubicBezTo>
                        <a:pt x="1954" y="8759"/>
                        <a:pt x="2111" y="8917"/>
                        <a:pt x="2300" y="8917"/>
                      </a:cubicBezTo>
                      <a:lnTo>
                        <a:pt x="2836" y="8917"/>
                      </a:lnTo>
                      <a:cubicBezTo>
                        <a:pt x="2867" y="9043"/>
                        <a:pt x="2899" y="9137"/>
                        <a:pt x="2930" y="9232"/>
                      </a:cubicBezTo>
                      <a:lnTo>
                        <a:pt x="2584" y="9610"/>
                      </a:lnTo>
                      <a:lnTo>
                        <a:pt x="977" y="9610"/>
                      </a:lnTo>
                      <a:cubicBezTo>
                        <a:pt x="788" y="9610"/>
                        <a:pt x="630" y="9452"/>
                        <a:pt x="630" y="9232"/>
                      </a:cubicBezTo>
                      <a:lnTo>
                        <a:pt x="630" y="3372"/>
                      </a:lnTo>
                      <a:close/>
                      <a:moveTo>
                        <a:pt x="6112" y="4726"/>
                      </a:moveTo>
                      <a:lnTo>
                        <a:pt x="6112" y="5136"/>
                      </a:lnTo>
                      <a:cubicBezTo>
                        <a:pt x="6112" y="5294"/>
                        <a:pt x="6207" y="5420"/>
                        <a:pt x="6364" y="5451"/>
                      </a:cubicBezTo>
                      <a:cubicBezTo>
                        <a:pt x="6553" y="5514"/>
                        <a:pt x="6805" y="5609"/>
                        <a:pt x="6994" y="5735"/>
                      </a:cubicBezTo>
                      <a:cubicBezTo>
                        <a:pt x="7041" y="5769"/>
                        <a:pt x="7096" y="5783"/>
                        <a:pt x="7153" y="5783"/>
                      </a:cubicBezTo>
                      <a:cubicBezTo>
                        <a:pt x="7251" y="5783"/>
                        <a:pt x="7356" y="5743"/>
                        <a:pt x="7435" y="5703"/>
                      </a:cubicBezTo>
                      <a:lnTo>
                        <a:pt x="7751" y="5388"/>
                      </a:lnTo>
                      <a:lnTo>
                        <a:pt x="8223" y="5861"/>
                      </a:lnTo>
                      <a:lnTo>
                        <a:pt x="7908" y="6176"/>
                      </a:lnTo>
                      <a:cubicBezTo>
                        <a:pt x="7782" y="6302"/>
                        <a:pt x="7782" y="6459"/>
                        <a:pt x="7877" y="6617"/>
                      </a:cubicBezTo>
                      <a:cubicBezTo>
                        <a:pt x="7971" y="6806"/>
                        <a:pt x="8066" y="6995"/>
                        <a:pt x="8129" y="7247"/>
                      </a:cubicBezTo>
                      <a:cubicBezTo>
                        <a:pt x="8192" y="7404"/>
                        <a:pt x="8286" y="7499"/>
                        <a:pt x="8444" y="7499"/>
                      </a:cubicBezTo>
                      <a:lnTo>
                        <a:pt x="8885" y="7499"/>
                      </a:lnTo>
                      <a:lnTo>
                        <a:pt x="8885" y="8192"/>
                      </a:lnTo>
                      <a:lnTo>
                        <a:pt x="8444" y="8192"/>
                      </a:lnTo>
                      <a:cubicBezTo>
                        <a:pt x="8286" y="8192"/>
                        <a:pt x="8192" y="8286"/>
                        <a:pt x="8129" y="8444"/>
                      </a:cubicBezTo>
                      <a:cubicBezTo>
                        <a:pt x="8097" y="8665"/>
                        <a:pt x="7971" y="8885"/>
                        <a:pt x="7877" y="9074"/>
                      </a:cubicBezTo>
                      <a:cubicBezTo>
                        <a:pt x="7782" y="9200"/>
                        <a:pt x="7814" y="9389"/>
                        <a:pt x="7908" y="9515"/>
                      </a:cubicBezTo>
                      <a:lnTo>
                        <a:pt x="8223" y="9830"/>
                      </a:lnTo>
                      <a:lnTo>
                        <a:pt x="7751" y="10303"/>
                      </a:lnTo>
                      <a:lnTo>
                        <a:pt x="7435" y="9988"/>
                      </a:lnTo>
                      <a:cubicBezTo>
                        <a:pt x="7368" y="9920"/>
                        <a:pt x="7291" y="9889"/>
                        <a:pt x="7211" y="9889"/>
                      </a:cubicBezTo>
                      <a:cubicBezTo>
                        <a:pt x="7141" y="9889"/>
                        <a:pt x="7068" y="9912"/>
                        <a:pt x="6994" y="9956"/>
                      </a:cubicBezTo>
                      <a:cubicBezTo>
                        <a:pt x="6805" y="10082"/>
                        <a:pt x="6616" y="10145"/>
                        <a:pt x="6364" y="10208"/>
                      </a:cubicBezTo>
                      <a:cubicBezTo>
                        <a:pt x="6207" y="10271"/>
                        <a:pt x="6112" y="10366"/>
                        <a:pt x="6112" y="10555"/>
                      </a:cubicBezTo>
                      <a:lnTo>
                        <a:pt x="6112" y="10964"/>
                      </a:lnTo>
                      <a:lnTo>
                        <a:pt x="5419" y="10964"/>
                      </a:lnTo>
                      <a:lnTo>
                        <a:pt x="5419" y="10555"/>
                      </a:lnTo>
                      <a:cubicBezTo>
                        <a:pt x="5419" y="10366"/>
                        <a:pt x="5325" y="10271"/>
                        <a:pt x="5167" y="10208"/>
                      </a:cubicBezTo>
                      <a:cubicBezTo>
                        <a:pt x="4947" y="10177"/>
                        <a:pt x="4726" y="10051"/>
                        <a:pt x="4537" y="9956"/>
                      </a:cubicBezTo>
                      <a:cubicBezTo>
                        <a:pt x="4491" y="9921"/>
                        <a:pt x="4436" y="9908"/>
                        <a:pt x="4379" y="9908"/>
                      </a:cubicBezTo>
                      <a:cubicBezTo>
                        <a:pt x="4281" y="9908"/>
                        <a:pt x="4176" y="9948"/>
                        <a:pt x="4096" y="9988"/>
                      </a:cubicBezTo>
                      <a:lnTo>
                        <a:pt x="3781" y="10303"/>
                      </a:lnTo>
                      <a:lnTo>
                        <a:pt x="3308" y="9830"/>
                      </a:lnTo>
                      <a:lnTo>
                        <a:pt x="3623" y="9515"/>
                      </a:lnTo>
                      <a:cubicBezTo>
                        <a:pt x="3749" y="9389"/>
                        <a:pt x="3749" y="9232"/>
                        <a:pt x="3655" y="9074"/>
                      </a:cubicBezTo>
                      <a:cubicBezTo>
                        <a:pt x="3529" y="8885"/>
                        <a:pt x="3466" y="8696"/>
                        <a:pt x="3371" y="8444"/>
                      </a:cubicBezTo>
                      <a:cubicBezTo>
                        <a:pt x="3340" y="8286"/>
                        <a:pt x="3214" y="8192"/>
                        <a:pt x="3056" y="8192"/>
                      </a:cubicBezTo>
                      <a:lnTo>
                        <a:pt x="2647" y="8192"/>
                      </a:lnTo>
                      <a:lnTo>
                        <a:pt x="2647" y="7499"/>
                      </a:lnTo>
                      <a:lnTo>
                        <a:pt x="3056" y="7499"/>
                      </a:lnTo>
                      <a:cubicBezTo>
                        <a:pt x="3214" y="7499"/>
                        <a:pt x="3340" y="7404"/>
                        <a:pt x="3371" y="7247"/>
                      </a:cubicBezTo>
                      <a:cubicBezTo>
                        <a:pt x="3434" y="7026"/>
                        <a:pt x="3529" y="6806"/>
                        <a:pt x="3655" y="6617"/>
                      </a:cubicBezTo>
                      <a:cubicBezTo>
                        <a:pt x="3749" y="6491"/>
                        <a:pt x="3686" y="6302"/>
                        <a:pt x="3623" y="6176"/>
                      </a:cubicBezTo>
                      <a:lnTo>
                        <a:pt x="3308" y="5861"/>
                      </a:lnTo>
                      <a:lnTo>
                        <a:pt x="3781" y="5388"/>
                      </a:lnTo>
                      <a:lnTo>
                        <a:pt x="4096" y="5703"/>
                      </a:lnTo>
                      <a:cubicBezTo>
                        <a:pt x="4163" y="5771"/>
                        <a:pt x="4240" y="5802"/>
                        <a:pt x="4321" y="5802"/>
                      </a:cubicBezTo>
                      <a:cubicBezTo>
                        <a:pt x="4391" y="5802"/>
                        <a:pt x="4464" y="5778"/>
                        <a:pt x="4537" y="5735"/>
                      </a:cubicBezTo>
                      <a:cubicBezTo>
                        <a:pt x="4726" y="5609"/>
                        <a:pt x="4915" y="5546"/>
                        <a:pt x="5167" y="5451"/>
                      </a:cubicBezTo>
                      <a:cubicBezTo>
                        <a:pt x="5325" y="5420"/>
                        <a:pt x="5419" y="5294"/>
                        <a:pt x="5419" y="5136"/>
                      </a:cubicBezTo>
                      <a:lnTo>
                        <a:pt x="5419" y="4726"/>
                      </a:lnTo>
                      <a:close/>
                      <a:moveTo>
                        <a:pt x="1008" y="1"/>
                      </a:moveTo>
                      <a:cubicBezTo>
                        <a:pt x="473" y="1"/>
                        <a:pt x="0" y="473"/>
                        <a:pt x="0" y="1009"/>
                      </a:cubicBezTo>
                      <a:lnTo>
                        <a:pt x="0" y="9295"/>
                      </a:lnTo>
                      <a:cubicBezTo>
                        <a:pt x="0" y="9830"/>
                        <a:pt x="473" y="10303"/>
                        <a:pt x="1008" y="10303"/>
                      </a:cubicBezTo>
                      <a:lnTo>
                        <a:pt x="2867" y="10303"/>
                      </a:lnTo>
                      <a:lnTo>
                        <a:pt x="3623" y="11059"/>
                      </a:lnTo>
                      <a:cubicBezTo>
                        <a:pt x="3671" y="11122"/>
                        <a:pt x="3757" y="11153"/>
                        <a:pt x="3848" y="11153"/>
                      </a:cubicBezTo>
                      <a:cubicBezTo>
                        <a:pt x="3938" y="11153"/>
                        <a:pt x="4033" y="11122"/>
                        <a:pt x="4096" y="11059"/>
                      </a:cubicBezTo>
                      <a:lnTo>
                        <a:pt x="4442" y="10712"/>
                      </a:lnTo>
                      <a:cubicBezTo>
                        <a:pt x="4506" y="10744"/>
                        <a:pt x="4632" y="10775"/>
                        <a:pt x="4758" y="10807"/>
                      </a:cubicBezTo>
                      <a:lnTo>
                        <a:pt x="4758" y="11342"/>
                      </a:lnTo>
                      <a:cubicBezTo>
                        <a:pt x="4758" y="11531"/>
                        <a:pt x="4915" y="11689"/>
                        <a:pt x="5104" y="11689"/>
                      </a:cubicBezTo>
                      <a:lnTo>
                        <a:pt x="6490" y="11689"/>
                      </a:lnTo>
                      <a:cubicBezTo>
                        <a:pt x="6679" y="11689"/>
                        <a:pt x="6837" y="11531"/>
                        <a:pt x="6837" y="11342"/>
                      </a:cubicBezTo>
                      <a:lnTo>
                        <a:pt x="6837" y="10807"/>
                      </a:lnTo>
                      <a:cubicBezTo>
                        <a:pt x="6963" y="10775"/>
                        <a:pt x="7026" y="10744"/>
                        <a:pt x="7152" y="10712"/>
                      </a:cubicBezTo>
                      <a:lnTo>
                        <a:pt x="7498" y="11059"/>
                      </a:lnTo>
                      <a:cubicBezTo>
                        <a:pt x="7561" y="11122"/>
                        <a:pt x="7656" y="11153"/>
                        <a:pt x="7747" y="11153"/>
                      </a:cubicBezTo>
                      <a:cubicBezTo>
                        <a:pt x="7837" y="11153"/>
                        <a:pt x="7924" y="11122"/>
                        <a:pt x="7971" y="11059"/>
                      </a:cubicBezTo>
                      <a:lnTo>
                        <a:pt x="8727" y="10303"/>
                      </a:lnTo>
                      <a:lnTo>
                        <a:pt x="10617" y="10303"/>
                      </a:lnTo>
                      <a:cubicBezTo>
                        <a:pt x="11185" y="10303"/>
                        <a:pt x="11657" y="9830"/>
                        <a:pt x="11657" y="9295"/>
                      </a:cubicBezTo>
                      <a:lnTo>
                        <a:pt x="11657" y="1009"/>
                      </a:lnTo>
                      <a:cubicBezTo>
                        <a:pt x="11657" y="473"/>
                        <a:pt x="11216" y="1"/>
                        <a:pt x="10617" y="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7" name="Google Shape;57;p15"/>
                <p:cNvSpPr/>
                <p:nvPr/>
              </p:nvSpPr>
              <p:spPr>
                <a:xfrm>
                  <a:off x="1056177" y="2594549"/>
                  <a:ext cx="107668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6" h="726" extrusionOk="0">
                      <a:moveTo>
                        <a:pt x="347" y="1"/>
                      </a:moveTo>
                      <a:cubicBezTo>
                        <a:pt x="158" y="1"/>
                        <a:pt x="1" y="158"/>
                        <a:pt x="1" y="347"/>
                      </a:cubicBezTo>
                      <a:cubicBezTo>
                        <a:pt x="1" y="536"/>
                        <a:pt x="158" y="726"/>
                        <a:pt x="347" y="726"/>
                      </a:cubicBezTo>
                      <a:cubicBezTo>
                        <a:pt x="568" y="726"/>
                        <a:pt x="725" y="536"/>
                        <a:pt x="725" y="347"/>
                      </a:cubicBezTo>
                      <a:cubicBezTo>
                        <a:pt x="725" y="158"/>
                        <a:pt x="568" y="1"/>
                        <a:pt x="347" y="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8" name="Google Shape;58;p15"/>
                <p:cNvSpPr/>
                <p:nvPr/>
              </p:nvSpPr>
              <p:spPr>
                <a:xfrm>
                  <a:off x="1261725" y="2594549"/>
                  <a:ext cx="102922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4" h="726" extrusionOk="0">
                      <a:moveTo>
                        <a:pt x="347" y="1"/>
                      </a:moveTo>
                      <a:cubicBezTo>
                        <a:pt x="158" y="1"/>
                        <a:pt x="1" y="158"/>
                        <a:pt x="1" y="347"/>
                      </a:cubicBezTo>
                      <a:cubicBezTo>
                        <a:pt x="1" y="568"/>
                        <a:pt x="158" y="726"/>
                        <a:pt x="347" y="726"/>
                      </a:cubicBezTo>
                      <a:cubicBezTo>
                        <a:pt x="536" y="726"/>
                        <a:pt x="694" y="568"/>
                        <a:pt x="694" y="347"/>
                      </a:cubicBezTo>
                      <a:cubicBezTo>
                        <a:pt x="694" y="158"/>
                        <a:pt x="536" y="1"/>
                        <a:pt x="347" y="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59" name="Google Shape;59;p15"/>
                <p:cNvSpPr/>
                <p:nvPr/>
              </p:nvSpPr>
              <p:spPr>
                <a:xfrm>
                  <a:off x="1467272" y="2594549"/>
                  <a:ext cx="103070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5" h="726" extrusionOk="0">
                      <a:moveTo>
                        <a:pt x="347" y="1"/>
                      </a:moveTo>
                      <a:cubicBezTo>
                        <a:pt x="158" y="1"/>
                        <a:pt x="1" y="158"/>
                        <a:pt x="1" y="347"/>
                      </a:cubicBezTo>
                      <a:cubicBezTo>
                        <a:pt x="1" y="568"/>
                        <a:pt x="158" y="726"/>
                        <a:pt x="347" y="726"/>
                      </a:cubicBezTo>
                      <a:cubicBezTo>
                        <a:pt x="537" y="726"/>
                        <a:pt x="694" y="568"/>
                        <a:pt x="694" y="347"/>
                      </a:cubicBezTo>
                      <a:cubicBezTo>
                        <a:pt x="694" y="158"/>
                        <a:pt x="537" y="1"/>
                        <a:pt x="347" y="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0" name="Google Shape;60;p15"/>
                <p:cNvSpPr/>
                <p:nvPr/>
              </p:nvSpPr>
              <p:spPr>
                <a:xfrm>
                  <a:off x="1663624" y="2594549"/>
                  <a:ext cx="714967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21" h="726" extrusionOk="0">
                      <a:moveTo>
                        <a:pt x="347" y="1"/>
                      </a:moveTo>
                      <a:cubicBezTo>
                        <a:pt x="158" y="1"/>
                        <a:pt x="0" y="158"/>
                        <a:pt x="0" y="347"/>
                      </a:cubicBezTo>
                      <a:cubicBezTo>
                        <a:pt x="32" y="568"/>
                        <a:pt x="189" y="726"/>
                        <a:pt x="347" y="726"/>
                      </a:cubicBezTo>
                      <a:lnTo>
                        <a:pt x="4442" y="726"/>
                      </a:lnTo>
                      <a:cubicBezTo>
                        <a:pt x="4663" y="726"/>
                        <a:pt x="4820" y="568"/>
                        <a:pt x="4820" y="347"/>
                      </a:cubicBezTo>
                      <a:cubicBezTo>
                        <a:pt x="4820" y="158"/>
                        <a:pt x="4663" y="1"/>
                        <a:pt x="4442" y="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1" name="Google Shape;61;p15"/>
                <p:cNvSpPr/>
                <p:nvPr/>
              </p:nvSpPr>
              <p:spPr>
                <a:xfrm>
                  <a:off x="1467272" y="3318859"/>
                  <a:ext cx="504822" cy="5046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4" h="3403" extrusionOk="0">
                      <a:moveTo>
                        <a:pt x="1671" y="662"/>
                      </a:moveTo>
                      <a:cubicBezTo>
                        <a:pt x="2238" y="662"/>
                        <a:pt x="2710" y="1134"/>
                        <a:pt x="2710" y="1701"/>
                      </a:cubicBezTo>
                      <a:cubicBezTo>
                        <a:pt x="2710" y="2237"/>
                        <a:pt x="2269" y="2710"/>
                        <a:pt x="1671" y="2710"/>
                      </a:cubicBezTo>
                      <a:cubicBezTo>
                        <a:pt x="1135" y="2710"/>
                        <a:pt x="663" y="2237"/>
                        <a:pt x="663" y="1701"/>
                      </a:cubicBezTo>
                      <a:cubicBezTo>
                        <a:pt x="663" y="1134"/>
                        <a:pt x="1135" y="662"/>
                        <a:pt x="1671" y="662"/>
                      </a:cubicBezTo>
                      <a:close/>
                      <a:moveTo>
                        <a:pt x="1671" y="0"/>
                      </a:moveTo>
                      <a:cubicBezTo>
                        <a:pt x="726" y="0"/>
                        <a:pt x="1" y="756"/>
                        <a:pt x="1" y="1701"/>
                      </a:cubicBezTo>
                      <a:cubicBezTo>
                        <a:pt x="1" y="2647"/>
                        <a:pt x="726" y="3403"/>
                        <a:pt x="1671" y="3403"/>
                      </a:cubicBezTo>
                      <a:cubicBezTo>
                        <a:pt x="2616" y="3403"/>
                        <a:pt x="3372" y="2647"/>
                        <a:pt x="3372" y="1701"/>
                      </a:cubicBezTo>
                      <a:cubicBezTo>
                        <a:pt x="3403" y="756"/>
                        <a:pt x="2616" y="0"/>
                        <a:pt x="167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15FC8A2F-E671-6ECE-B549-90119085066D}"/>
                  </a:ext>
                </a:extLst>
              </p:cNvPr>
              <p:cNvGrpSpPr/>
              <p:nvPr/>
            </p:nvGrpSpPr>
            <p:grpSpPr>
              <a:xfrm>
                <a:off x="3179248" y="2398345"/>
                <a:ext cx="1728911" cy="1733508"/>
                <a:chOff x="3179248" y="2398345"/>
                <a:chExt cx="1728911" cy="1733508"/>
              </a:xfrm>
            </p:grpSpPr>
            <p:sp>
              <p:nvSpPr>
                <p:cNvPr id="77" name="Google Shape;77;p15"/>
                <p:cNvSpPr/>
                <p:nvPr/>
              </p:nvSpPr>
              <p:spPr>
                <a:xfrm>
                  <a:off x="3179248" y="2398345"/>
                  <a:ext cx="1728911" cy="17335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58" h="11689" extrusionOk="0">
                      <a:moveTo>
                        <a:pt x="10617" y="662"/>
                      </a:moveTo>
                      <a:cubicBezTo>
                        <a:pt x="10806" y="662"/>
                        <a:pt x="10964" y="820"/>
                        <a:pt x="10964" y="1009"/>
                      </a:cubicBezTo>
                      <a:lnTo>
                        <a:pt x="10964" y="2710"/>
                      </a:lnTo>
                      <a:lnTo>
                        <a:pt x="662" y="2710"/>
                      </a:lnTo>
                      <a:lnTo>
                        <a:pt x="662" y="1009"/>
                      </a:lnTo>
                      <a:cubicBezTo>
                        <a:pt x="662" y="820"/>
                        <a:pt x="819" y="662"/>
                        <a:pt x="1008" y="662"/>
                      </a:cubicBezTo>
                      <a:close/>
                      <a:moveTo>
                        <a:pt x="10933" y="3372"/>
                      </a:moveTo>
                      <a:lnTo>
                        <a:pt x="10933" y="9232"/>
                      </a:lnTo>
                      <a:cubicBezTo>
                        <a:pt x="10964" y="9484"/>
                        <a:pt x="10806" y="9610"/>
                        <a:pt x="10617" y="9610"/>
                      </a:cubicBezTo>
                      <a:lnTo>
                        <a:pt x="8916" y="9610"/>
                      </a:lnTo>
                      <a:lnTo>
                        <a:pt x="8570" y="9232"/>
                      </a:lnTo>
                      <a:cubicBezTo>
                        <a:pt x="8601" y="9169"/>
                        <a:pt x="8664" y="9043"/>
                        <a:pt x="8696" y="8917"/>
                      </a:cubicBezTo>
                      <a:lnTo>
                        <a:pt x="9200" y="8917"/>
                      </a:lnTo>
                      <a:cubicBezTo>
                        <a:pt x="9389" y="8917"/>
                        <a:pt x="9546" y="8759"/>
                        <a:pt x="9546" y="8570"/>
                      </a:cubicBezTo>
                      <a:lnTo>
                        <a:pt x="9546" y="7184"/>
                      </a:lnTo>
                      <a:cubicBezTo>
                        <a:pt x="9546" y="6995"/>
                        <a:pt x="9389" y="6837"/>
                        <a:pt x="9200" y="6837"/>
                      </a:cubicBezTo>
                      <a:lnTo>
                        <a:pt x="8696" y="6837"/>
                      </a:lnTo>
                      <a:cubicBezTo>
                        <a:pt x="8664" y="6711"/>
                        <a:pt x="8601" y="6648"/>
                        <a:pt x="8570" y="6522"/>
                      </a:cubicBezTo>
                      <a:lnTo>
                        <a:pt x="8916" y="6176"/>
                      </a:lnTo>
                      <a:cubicBezTo>
                        <a:pt x="9042" y="6050"/>
                        <a:pt x="9042" y="5798"/>
                        <a:pt x="8916" y="5703"/>
                      </a:cubicBezTo>
                      <a:lnTo>
                        <a:pt x="7940" y="4695"/>
                      </a:lnTo>
                      <a:cubicBezTo>
                        <a:pt x="7877" y="4648"/>
                        <a:pt x="7790" y="4624"/>
                        <a:pt x="7703" y="4624"/>
                      </a:cubicBezTo>
                      <a:cubicBezTo>
                        <a:pt x="7617" y="4624"/>
                        <a:pt x="7530" y="4648"/>
                        <a:pt x="7467" y="4695"/>
                      </a:cubicBezTo>
                      <a:lnTo>
                        <a:pt x="7120" y="5073"/>
                      </a:lnTo>
                      <a:cubicBezTo>
                        <a:pt x="7026" y="5041"/>
                        <a:pt x="6931" y="4978"/>
                        <a:pt x="6805" y="4947"/>
                      </a:cubicBezTo>
                      <a:lnTo>
                        <a:pt x="6805" y="4443"/>
                      </a:lnTo>
                      <a:cubicBezTo>
                        <a:pt x="6805" y="4222"/>
                        <a:pt x="6648" y="4065"/>
                        <a:pt x="6459" y="4065"/>
                      </a:cubicBezTo>
                      <a:lnTo>
                        <a:pt x="5073" y="4065"/>
                      </a:lnTo>
                      <a:cubicBezTo>
                        <a:pt x="4884" y="4065"/>
                        <a:pt x="4726" y="4222"/>
                        <a:pt x="4726" y="4443"/>
                      </a:cubicBezTo>
                      <a:lnTo>
                        <a:pt x="4726" y="4947"/>
                      </a:lnTo>
                      <a:cubicBezTo>
                        <a:pt x="4600" y="4978"/>
                        <a:pt x="4506" y="5010"/>
                        <a:pt x="4411" y="5073"/>
                      </a:cubicBezTo>
                      <a:lnTo>
                        <a:pt x="4033" y="4695"/>
                      </a:lnTo>
                      <a:cubicBezTo>
                        <a:pt x="3986" y="4648"/>
                        <a:pt x="3899" y="4624"/>
                        <a:pt x="3808" y="4624"/>
                      </a:cubicBezTo>
                      <a:cubicBezTo>
                        <a:pt x="3718" y="4624"/>
                        <a:pt x="3623" y="4648"/>
                        <a:pt x="3560" y="4695"/>
                      </a:cubicBezTo>
                      <a:lnTo>
                        <a:pt x="2584" y="5703"/>
                      </a:lnTo>
                      <a:cubicBezTo>
                        <a:pt x="2458" y="5829"/>
                        <a:pt x="2458" y="6050"/>
                        <a:pt x="2584" y="6176"/>
                      </a:cubicBezTo>
                      <a:lnTo>
                        <a:pt x="2930" y="6522"/>
                      </a:lnTo>
                      <a:cubicBezTo>
                        <a:pt x="2899" y="6585"/>
                        <a:pt x="2867" y="6711"/>
                        <a:pt x="2836" y="6837"/>
                      </a:cubicBezTo>
                      <a:lnTo>
                        <a:pt x="2300" y="6837"/>
                      </a:lnTo>
                      <a:cubicBezTo>
                        <a:pt x="2111" y="6837"/>
                        <a:pt x="1954" y="6995"/>
                        <a:pt x="1954" y="7184"/>
                      </a:cubicBezTo>
                      <a:lnTo>
                        <a:pt x="1954" y="8570"/>
                      </a:lnTo>
                      <a:cubicBezTo>
                        <a:pt x="1954" y="8759"/>
                        <a:pt x="2111" y="8917"/>
                        <a:pt x="2300" y="8917"/>
                      </a:cubicBezTo>
                      <a:lnTo>
                        <a:pt x="2836" y="8917"/>
                      </a:lnTo>
                      <a:cubicBezTo>
                        <a:pt x="2867" y="9043"/>
                        <a:pt x="2899" y="9137"/>
                        <a:pt x="2930" y="9232"/>
                      </a:cubicBezTo>
                      <a:lnTo>
                        <a:pt x="2584" y="9610"/>
                      </a:lnTo>
                      <a:lnTo>
                        <a:pt x="977" y="9610"/>
                      </a:lnTo>
                      <a:cubicBezTo>
                        <a:pt x="788" y="9610"/>
                        <a:pt x="630" y="9452"/>
                        <a:pt x="630" y="9232"/>
                      </a:cubicBezTo>
                      <a:lnTo>
                        <a:pt x="630" y="3372"/>
                      </a:lnTo>
                      <a:close/>
                      <a:moveTo>
                        <a:pt x="6112" y="4726"/>
                      </a:moveTo>
                      <a:lnTo>
                        <a:pt x="6112" y="5136"/>
                      </a:lnTo>
                      <a:cubicBezTo>
                        <a:pt x="6112" y="5294"/>
                        <a:pt x="6207" y="5420"/>
                        <a:pt x="6364" y="5451"/>
                      </a:cubicBezTo>
                      <a:cubicBezTo>
                        <a:pt x="6553" y="5514"/>
                        <a:pt x="6805" y="5609"/>
                        <a:pt x="6994" y="5735"/>
                      </a:cubicBezTo>
                      <a:cubicBezTo>
                        <a:pt x="7041" y="5769"/>
                        <a:pt x="7096" y="5783"/>
                        <a:pt x="7153" y="5783"/>
                      </a:cubicBezTo>
                      <a:cubicBezTo>
                        <a:pt x="7251" y="5783"/>
                        <a:pt x="7356" y="5743"/>
                        <a:pt x="7435" y="5703"/>
                      </a:cubicBezTo>
                      <a:lnTo>
                        <a:pt x="7751" y="5388"/>
                      </a:lnTo>
                      <a:lnTo>
                        <a:pt x="8223" y="5861"/>
                      </a:lnTo>
                      <a:lnTo>
                        <a:pt x="7908" y="6176"/>
                      </a:lnTo>
                      <a:cubicBezTo>
                        <a:pt x="7782" y="6302"/>
                        <a:pt x="7782" y="6459"/>
                        <a:pt x="7877" y="6617"/>
                      </a:cubicBezTo>
                      <a:cubicBezTo>
                        <a:pt x="7971" y="6806"/>
                        <a:pt x="8066" y="6995"/>
                        <a:pt x="8129" y="7247"/>
                      </a:cubicBezTo>
                      <a:cubicBezTo>
                        <a:pt x="8192" y="7404"/>
                        <a:pt x="8286" y="7499"/>
                        <a:pt x="8444" y="7499"/>
                      </a:cubicBezTo>
                      <a:lnTo>
                        <a:pt x="8885" y="7499"/>
                      </a:lnTo>
                      <a:lnTo>
                        <a:pt x="8885" y="8192"/>
                      </a:lnTo>
                      <a:lnTo>
                        <a:pt x="8444" y="8192"/>
                      </a:lnTo>
                      <a:cubicBezTo>
                        <a:pt x="8286" y="8192"/>
                        <a:pt x="8192" y="8286"/>
                        <a:pt x="8129" y="8444"/>
                      </a:cubicBezTo>
                      <a:cubicBezTo>
                        <a:pt x="8097" y="8665"/>
                        <a:pt x="7971" y="8885"/>
                        <a:pt x="7877" y="9074"/>
                      </a:cubicBezTo>
                      <a:cubicBezTo>
                        <a:pt x="7782" y="9200"/>
                        <a:pt x="7814" y="9389"/>
                        <a:pt x="7908" y="9515"/>
                      </a:cubicBezTo>
                      <a:lnTo>
                        <a:pt x="8223" y="9830"/>
                      </a:lnTo>
                      <a:lnTo>
                        <a:pt x="7751" y="10303"/>
                      </a:lnTo>
                      <a:lnTo>
                        <a:pt x="7435" y="9988"/>
                      </a:lnTo>
                      <a:cubicBezTo>
                        <a:pt x="7368" y="9920"/>
                        <a:pt x="7291" y="9889"/>
                        <a:pt x="7211" y="9889"/>
                      </a:cubicBezTo>
                      <a:cubicBezTo>
                        <a:pt x="7141" y="9889"/>
                        <a:pt x="7068" y="9912"/>
                        <a:pt x="6994" y="9956"/>
                      </a:cubicBezTo>
                      <a:cubicBezTo>
                        <a:pt x="6805" y="10082"/>
                        <a:pt x="6616" y="10145"/>
                        <a:pt x="6364" y="10208"/>
                      </a:cubicBezTo>
                      <a:cubicBezTo>
                        <a:pt x="6207" y="10271"/>
                        <a:pt x="6112" y="10366"/>
                        <a:pt x="6112" y="10555"/>
                      </a:cubicBezTo>
                      <a:lnTo>
                        <a:pt x="6112" y="10964"/>
                      </a:lnTo>
                      <a:lnTo>
                        <a:pt x="5419" y="10964"/>
                      </a:lnTo>
                      <a:lnTo>
                        <a:pt x="5419" y="10555"/>
                      </a:lnTo>
                      <a:cubicBezTo>
                        <a:pt x="5419" y="10366"/>
                        <a:pt x="5325" y="10271"/>
                        <a:pt x="5167" y="10208"/>
                      </a:cubicBezTo>
                      <a:cubicBezTo>
                        <a:pt x="4947" y="10177"/>
                        <a:pt x="4726" y="10051"/>
                        <a:pt x="4537" y="9956"/>
                      </a:cubicBezTo>
                      <a:cubicBezTo>
                        <a:pt x="4491" y="9921"/>
                        <a:pt x="4436" y="9908"/>
                        <a:pt x="4379" y="9908"/>
                      </a:cubicBezTo>
                      <a:cubicBezTo>
                        <a:pt x="4281" y="9908"/>
                        <a:pt x="4176" y="9948"/>
                        <a:pt x="4096" y="9988"/>
                      </a:cubicBezTo>
                      <a:lnTo>
                        <a:pt x="3781" y="10303"/>
                      </a:lnTo>
                      <a:lnTo>
                        <a:pt x="3308" y="9830"/>
                      </a:lnTo>
                      <a:lnTo>
                        <a:pt x="3623" y="9515"/>
                      </a:lnTo>
                      <a:cubicBezTo>
                        <a:pt x="3749" y="9389"/>
                        <a:pt x="3749" y="9232"/>
                        <a:pt x="3655" y="9074"/>
                      </a:cubicBezTo>
                      <a:cubicBezTo>
                        <a:pt x="3529" y="8885"/>
                        <a:pt x="3466" y="8696"/>
                        <a:pt x="3371" y="8444"/>
                      </a:cubicBezTo>
                      <a:cubicBezTo>
                        <a:pt x="3340" y="8286"/>
                        <a:pt x="3214" y="8192"/>
                        <a:pt x="3056" y="8192"/>
                      </a:cubicBezTo>
                      <a:lnTo>
                        <a:pt x="2647" y="8192"/>
                      </a:lnTo>
                      <a:lnTo>
                        <a:pt x="2647" y="7499"/>
                      </a:lnTo>
                      <a:lnTo>
                        <a:pt x="3056" y="7499"/>
                      </a:lnTo>
                      <a:cubicBezTo>
                        <a:pt x="3214" y="7499"/>
                        <a:pt x="3340" y="7404"/>
                        <a:pt x="3371" y="7247"/>
                      </a:cubicBezTo>
                      <a:cubicBezTo>
                        <a:pt x="3434" y="7026"/>
                        <a:pt x="3529" y="6806"/>
                        <a:pt x="3655" y="6617"/>
                      </a:cubicBezTo>
                      <a:cubicBezTo>
                        <a:pt x="3749" y="6491"/>
                        <a:pt x="3686" y="6302"/>
                        <a:pt x="3623" y="6176"/>
                      </a:cubicBezTo>
                      <a:lnTo>
                        <a:pt x="3308" y="5861"/>
                      </a:lnTo>
                      <a:lnTo>
                        <a:pt x="3781" y="5388"/>
                      </a:lnTo>
                      <a:lnTo>
                        <a:pt x="4096" y="5703"/>
                      </a:lnTo>
                      <a:cubicBezTo>
                        <a:pt x="4163" y="5771"/>
                        <a:pt x="4240" y="5802"/>
                        <a:pt x="4321" y="5802"/>
                      </a:cubicBezTo>
                      <a:cubicBezTo>
                        <a:pt x="4391" y="5802"/>
                        <a:pt x="4464" y="5778"/>
                        <a:pt x="4537" y="5735"/>
                      </a:cubicBezTo>
                      <a:cubicBezTo>
                        <a:pt x="4726" y="5609"/>
                        <a:pt x="4915" y="5546"/>
                        <a:pt x="5167" y="5451"/>
                      </a:cubicBezTo>
                      <a:cubicBezTo>
                        <a:pt x="5325" y="5420"/>
                        <a:pt x="5419" y="5294"/>
                        <a:pt x="5419" y="5136"/>
                      </a:cubicBezTo>
                      <a:lnTo>
                        <a:pt x="5419" y="4726"/>
                      </a:lnTo>
                      <a:close/>
                      <a:moveTo>
                        <a:pt x="1008" y="1"/>
                      </a:moveTo>
                      <a:cubicBezTo>
                        <a:pt x="473" y="1"/>
                        <a:pt x="0" y="473"/>
                        <a:pt x="0" y="1009"/>
                      </a:cubicBezTo>
                      <a:lnTo>
                        <a:pt x="0" y="9295"/>
                      </a:lnTo>
                      <a:cubicBezTo>
                        <a:pt x="0" y="9830"/>
                        <a:pt x="473" y="10303"/>
                        <a:pt x="1008" y="10303"/>
                      </a:cubicBezTo>
                      <a:lnTo>
                        <a:pt x="2867" y="10303"/>
                      </a:lnTo>
                      <a:lnTo>
                        <a:pt x="3623" y="11059"/>
                      </a:lnTo>
                      <a:cubicBezTo>
                        <a:pt x="3671" y="11122"/>
                        <a:pt x="3757" y="11153"/>
                        <a:pt x="3848" y="11153"/>
                      </a:cubicBezTo>
                      <a:cubicBezTo>
                        <a:pt x="3938" y="11153"/>
                        <a:pt x="4033" y="11122"/>
                        <a:pt x="4096" y="11059"/>
                      </a:cubicBezTo>
                      <a:lnTo>
                        <a:pt x="4442" y="10712"/>
                      </a:lnTo>
                      <a:cubicBezTo>
                        <a:pt x="4506" y="10744"/>
                        <a:pt x="4632" y="10775"/>
                        <a:pt x="4758" y="10807"/>
                      </a:cubicBezTo>
                      <a:lnTo>
                        <a:pt x="4758" y="11342"/>
                      </a:lnTo>
                      <a:cubicBezTo>
                        <a:pt x="4758" y="11531"/>
                        <a:pt x="4915" y="11689"/>
                        <a:pt x="5104" y="11689"/>
                      </a:cubicBezTo>
                      <a:lnTo>
                        <a:pt x="6490" y="11689"/>
                      </a:lnTo>
                      <a:cubicBezTo>
                        <a:pt x="6679" y="11689"/>
                        <a:pt x="6837" y="11531"/>
                        <a:pt x="6837" y="11342"/>
                      </a:cubicBezTo>
                      <a:lnTo>
                        <a:pt x="6837" y="10807"/>
                      </a:lnTo>
                      <a:cubicBezTo>
                        <a:pt x="6963" y="10775"/>
                        <a:pt x="7026" y="10744"/>
                        <a:pt x="7152" y="10712"/>
                      </a:cubicBezTo>
                      <a:lnTo>
                        <a:pt x="7498" y="11059"/>
                      </a:lnTo>
                      <a:cubicBezTo>
                        <a:pt x="7561" y="11122"/>
                        <a:pt x="7656" y="11153"/>
                        <a:pt x="7747" y="11153"/>
                      </a:cubicBezTo>
                      <a:cubicBezTo>
                        <a:pt x="7837" y="11153"/>
                        <a:pt x="7924" y="11122"/>
                        <a:pt x="7971" y="11059"/>
                      </a:cubicBezTo>
                      <a:lnTo>
                        <a:pt x="8727" y="10303"/>
                      </a:lnTo>
                      <a:lnTo>
                        <a:pt x="10617" y="10303"/>
                      </a:lnTo>
                      <a:cubicBezTo>
                        <a:pt x="11185" y="10303"/>
                        <a:pt x="11657" y="9830"/>
                        <a:pt x="11657" y="9295"/>
                      </a:cubicBezTo>
                      <a:lnTo>
                        <a:pt x="11657" y="1009"/>
                      </a:lnTo>
                      <a:cubicBezTo>
                        <a:pt x="11657" y="473"/>
                        <a:pt x="11216" y="1"/>
                        <a:pt x="10617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8" name="Google Shape;78;p15"/>
                <p:cNvSpPr/>
                <p:nvPr/>
              </p:nvSpPr>
              <p:spPr>
                <a:xfrm>
                  <a:off x="3375452" y="2594549"/>
                  <a:ext cx="107668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6" h="726" extrusionOk="0">
                      <a:moveTo>
                        <a:pt x="347" y="1"/>
                      </a:moveTo>
                      <a:cubicBezTo>
                        <a:pt x="158" y="1"/>
                        <a:pt x="1" y="158"/>
                        <a:pt x="1" y="347"/>
                      </a:cubicBezTo>
                      <a:cubicBezTo>
                        <a:pt x="1" y="536"/>
                        <a:pt x="158" y="726"/>
                        <a:pt x="347" y="726"/>
                      </a:cubicBezTo>
                      <a:cubicBezTo>
                        <a:pt x="568" y="726"/>
                        <a:pt x="725" y="536"/>
                        <a:pt x="725" y="347"/>
                      </a:cubicBezTo>
                      <a:cubicBezTo>
                        <a:pt x="725" y="158"/>
                        <a:pt x="568" y="1"/>
                        <a:pt x="347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9" name="Google Shape;79;p15"/>
                <p:cNvSpPr/>
                <p:nvPr/>
              </p:nvSpPr>
              <p:spPr>
                <a:xfrm>
                  <a:off x="3581000" y="2594549"/>
                  <a:ext cx="102922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4" h="726" extrusionOk="0">
                      <a:moveTo>
                        <a:pt x="347" y="1"/>
                      </a:moveTo>
                      <a:cubicBezTo>
                        <a:pt x="158" y="1"/>
                        <a:pt x="1" y="158"/>
                        <a:pt x="1" y="347"/>
                      </a:cubicBezTo>
                      <a:cubicBezTo>
                        <a:pt x="1" y="568"/>
                        <a:pt x="158" y="726"/>
                        <a:pt x="347" y="726"/>
                      </a:cubicBezTo>
                      <a:cubicBezTo>
                        <a:pt x="536" y="726"/>
                        <a:pt x="694" y="568"/>
                        <a:pt x="694" y="347"/>
                      </a:cubicBezTo>
                      <a:cubicBezTo>
                        <a:pt x="694" y="158"/>
                        <a:pt x="536" y="1"/>
                        <a:pt x="347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0" name="Google Shape;80;p15"/>
                <p:cNvSpPr/>
                <p:nvPr/>
              </p:nvSpPr>
              <p:spPr>
                <a:xfrm>
                  <a:off x="3786547" y="2594549"/>
                  <a:ext cx="103070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5" h="726" extrusionOk="0">
                      <a:moveTo>
                        <a:pt x="347" y="1"/>
                      </a:moveTo>
                      <a:cubicBezTo>
                        <a:pt x="158" y="1"/>
                        <a:pt x="1" y="158"/>
                        <a:pt x="1" y="347"/>
                      </a:cubicBezTo>
                      <a:cubicBezTo>
                        <a:pt x="1" y="568"/>
                        <a:pt x="158" y="726"/>
                        <a:pt x="347" y="726"/>
                      </a:cubicBezTo>
                      <a:cubicBezTo>
                        <a:pt x="537" y="726"/>
                        <a:pt x="694" y="568"/>
                        <a:pt x="694" y="347"/>
                      </a:cubicBezTo>
                      <a:cubicBezTo>
                        <a:pt x="694" y="158"/>
                        <a:pt x="537" y="1"/>
                        <a:pt x="347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1" name="Google Shape;81;p15"/>
                <p:cNvSpPr/>
                <p:nvPr/>
              </p:nvSpPr>
              <p:spPr>
                <a:xfrm>
                  <a:off x="3982899" y="2594549"/>
                  <a:ext cx="714967" cy="107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21" h="726" extrusionOk="0">
                      <a:moveTo>
                        <a:pt x="347" y="1"/>
                      </a:moveTo>
                      <a:cubicBezTo>
                        <a:pt x="158" y="1"/>
                        <a:pt x="0" y="158"/>
                        <a:pt x="0" y="347"/>
                      </a:cubicBezTo>
                      <a:cubicBezTo>
                        <a:pt x="32" y="568"/>
                        <a:pt x="189" y="726"/>
                        <a:pt x="347" y="726"/>
                      </a:cubicBezTo>
                      <a:lnTo>
                        <a:pt x="4442" y="726"/>
                      </a:lnTo>
                      <a:cubicBezTo>
                        <a:pt x="4663" y="726"/>
                        <a:pt x="4820" y="568"/>
                        <a:pt x="4820" y="347"/>
                      </a:cubicBezTo>
                      <a:cubicBezTo>
                        <a:pt x="4820" y="158"/>
                        <a:pt x="4663" y="1"/>
                        <a:pt x="4442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82" name="Google Shape;82;p15"/>
                <p:cNvSpPr/>
                <p:nvPr/>
              </p:nvSpPr>
              <p:spPr>
                <a:xfrm>
                  <a:off x="3786547" y="3318859"/>
                  <a:ext cx="504822" cy="5046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4" h="3403" extrusionOk="0">
                      <a:moveTo>
                        <a:pt x="1671" y="662"/>
                      </a:moveTo>
                      <a:cubicBezTo>
                        <a:pt x="2238" y="662"/>
                        <a:pt x="2710" y="1134"/>
                        <a:pt x="2710" y="1701"/>
                      </a:cubicBezTo>
                      <a:cubicBezTo>
                        <a:pt x="2710" y="2237"/>
                        <a:pt x="2269" y="2710"/>
                        <a:pt x="1671" y="2710"/>
                      </a:cubicBezTo>
                      <a:cubicBezTo>
                        <a:pt x="1135" y="2710"/>
                        <a:pt x="663" y="2237"/>
                        <a:pt x="663" y="1701"/>
                      </a:cubicBezTo>
                      <a:cubicBezTo>
                        <a:pt x="663" y="1134"/>
                        <a:pt x="1135" y="662"/>
                        <a:pt x="1671" y="662"/>
                      </a:cubicBezTo>
                      <a:close/>
                      <a:moveTo>
                        <a:pt x="1671" y="0"/>
                      </a:moveTo>
                      <a:cubicBezTo>
                        <a:pt x="726" y="0"/>
                        <a:pt x="1" y="756"/>
                        <a:pt x="1" y="1701"/>
                      </a:cubicBezTo>
                      <a:cubicBezTo>
                        <a:pt x="1" y="2647"/>
                        <a:pt x="726" y="3403"/>
                        <a:pt x="1671" y="3403"/>
                      </a:cubicBezTo>
                      <a:cubicBezTo>
                        <a:pt x="2616" y="3403"/>
                        <a:pt x="3372" y="2647"/>
                        <a:pt x="3372" y="1701"/>
                      </a:cubicBezTo>
                      <a:cubicBezTo>
                        <a:pt x="3403" y="756"/>
                        <a:pt x="2616" y="0"/>
                        <a:pt x="1671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70CDFC97-523B-078E-3CB8-5E1EBA2A7099}"/>
                </a:ext>
              </a:extLst>
            </p:cNvPr>
            <p:cNvGrpSpPr/>
            <p:nvPr/>
          </p:nvGrpSpPr>
          <p:grpSpPr>
            <a:xfrm>
              <a:off x="1772775" y="1011625"/>
              <a:ext cx="2913875" cy="1352175"/>
              <a:chOff x="1772775" y="1011625"/>
              <a:chExt cx="2913875" cy="1352175"/>
            </a:xfrm>
          </p:grpSpPr>
          <p:sp>
            <p:nvSpPr>
              <p:cNvPr id="63" name="Google Shape;63;p15"/>
              <p:cNvSpPr/>
              <p:nvPr/>
            </p:nvSpPr>
            <p:spPr>
              <a:xfrm>
                <a:off x="1772775" y="2256100"/>
                <a:ext cx="594600" cy="1077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" name="Google Shape;67;p15"/>
              <p:cNvSpPr/>
              <p:nvPr/>
            </p:nvSpPr>
            <p:spPr>
              <a:xfrm>
                <a:off x="1772775" y="2117825"/>
                <a:ext cx="594600" cy="1077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" name="Google Shape;68;p15"/>
              <p:cNvSpPr/>
              <p:nvPr/>
            </p:nvSpPr>
            <p:spPr>
              <a:xfrm>
                <a:off x="1772775" y="1979550"/>
                <a:ext cx="594600" cy="1077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" name="Google Shape;69;p15"/>
              <p:cNvSpPr/>
              <p:nvPr/>
            </p:nvSpPr>
            <p:spPr>
              <a:xfrm>
                <a:off x="1772775" y="1841275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" name="Google Shape;70;p15"/>
              <p:cNvSpPr/>
              <p:nvPr/>
            </p:nvSpPr>
            <p:spPr>
              <a:xfrm>
                <a:off x="1772775" y="1703000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" name="Google Shape;71;p15"/>
              <p:cNvSpPr/>
              <p:nvPr/>
            </p:nvSpPr>
            <p:spPr>
              <a:xfrm>
                <a:off x="1772775" y="1564725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72;p15"/>
              <p:cNvSpPr/>
              <p:nvPr/>
            </p:nvSpPr>
            <p:spPr>
              <a:xfrm>
                <a:off x="1772775" y="1426450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73;p15"/>
              <p:cNvSpPr/>
              <p:nvPr/>
            </p:nvSpPr>
            <p:spPr>
              <a:xfrm>
                <a:off x="1772775" y="1288175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74;p15"/>
              <p:cNvSpPr/>
              <p:nvPr/>
            </p:nvSpPr>
            <p:spPr>
              <a:xfrm>
                <a:off x="1772775" y="1149900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" name="Google Shape;75;p15"/>
              <p:cNvSpPr/>
              <p:nvPr/>
            </p:nvSpPr>
            <p:spPr>
              <a:xfrm>
                <a:off x="1772775" y="1011625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" name="Google Shape;84;p15"/>
              <p:cNvSpPr/>
              <p:nvPr/>
            </p:nvSpPr>
            <p:spPr>
              <a:xfrm>
                <a:off x="4092050" y="2256100"/>
                <a:ext cx="594600" cy="1077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" name="Google Shape;86;p15"/>
              <p:cNvSpPr/>
              <p:nvPr/>
            </p:nvSpPr>
            <p:spPr>
              <a:xfrm>
                <a:off x="4092050" y="2117825"/>
                <a:ext cx="594600" cy="1077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" name="Google Shape;87;p15"/>
              <p:cNvSpPr/>
              <p:nvPr/>
            </p:nvSpPr>
            <p:spPr>
              <a:xfrm>
                <a:off x="4092050" y="1979550"/>
                <a:ext cx="594600" cy="1077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" name="Google Shape;88;p15"/>
              <p:cNvSpPr/>
              <p:nvPr/>
            </p:nvSpPr>
            <p:spPr>
              <a:xfrm>
                <a:off x="4092050" y="1841275"/>
                <a:ext cx="594600" cy="1077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" name="Google Shape;89;p15"/>
              <p:cNvSpPr/>
              <p:nvPr/>
            </p:nvSpPr>
            <p:spPr>
              <a:xfrm>
                <a:off x="4092050" y="1703000"/>
                <a:ext cx="594600" cy="1077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" name="Google Shape;90;p15"/>
              <p:cNvSpPr/>
              <p:nvPr/>
            </p:nvSpPr>
            <p:spPr>
              <a:xfrm>
                <a:off x="4092050" y="1564725"/>
                <a:ext cx="594600" cy="1077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" name="Google Shape;91;p15"/>
              <p:cNvSpPr/>
              <p:nvPr/>
            </p:nvSpPr>
            <p:spPr>
              <a:xfrm>
                <a:off x="4092050" y="1426450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" name="Google Shape;92;p15"/>
              <p:cNvSpPr/>
              <p:nvPr/>
            </p:nvSpPr>
            <p:spPr>
              <a:xfrm>
                <a:off x="4092050" y="1288175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" name="Google Shape;93;p15"/>
              <p:cNvSpPr/>
              <p:nvPr/>
            </p:nvSpPr>
            <p:spPr>
              <a:xfrm>
                <a:off x="4092050" y="1149900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" name="Google Shape;94;p15"/>
              <p:cNvSpPr/>
              <p:nvPr/>
            </p:nvSpPr>
            <p:spPr>
              <a:xfrm>
                <a:off x="4092050" y="1011625"/>
                <a:ext cx="594600" cy="10770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43" name="Google Shape;64;p15">
            <a:extLst>
              <a:ext uri="{FF2B5EF4-FFF2-40B4-BE49-F238E27FC236}">
                <a16:creationId xmlns:a16="http://schemas.microsoft.com/office/drawing/2014/main" id="{5ABA7EDF-166F-4263-ABA5-D553A83F22BF}"/>
              </a:ext>
            </a:extLst>
          </p:cNvPr>
          <p:cNvSpPr txBox="1">
            <a:spLocks/>
          </p:cNvSpPr>
          <p:nvPr/>
        </p:nvSpPr>
        <p:spPr>
          <a:xfrm>
            <a:off x="5300420" y="3178235"/>
            <a:ext cx="3386380" cy="1546535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Roboto"/>
              <a:buNone/>
              <a:defRPr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000000"/>
              </a:buClr>
              <a:buSzPts val="1400"/>
              <a:buFont typeface="Roboto"/>
              <a:buNone/>
              <a:defRPr sz="14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1600"/>
              </a:spcAft>
            </a:pPr>
            <a:r>
              <a:rPr lang="ru-RU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Анна Ле,</a:t>
            </a:r>
            <a:br>
              <a:rPr lang="ru-RU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Виктор Орлов,</a:t>
            </a:r>
            <a:br>
              <a:rPr lang="ru-RU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Ирина Перепелкина,</a:t>
            </a:r>
            <a:br>
              <a:rPr lang="ru-RU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Артём Ходорович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71EA7A1-1350-86A5-1E57-0DEADB33F0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874" y="694655"/>
            <a:ext cx="729674" cy="115741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176A0E86-F799-B201-D0EF-86F12FE306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200" y="838613"/>
            <a:ext cx="730348" cy="730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4B0B152-7072-96D2-FF71-2D5359932DA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420075"/>
            <a:ext cx="730348" cy="24003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2133DCCE-CC96-444F-8D7C-4999C7CFD2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948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2133DCCE-CC96-444F-8D7C-4999C7CFD2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B49D63-BB7B-413C-BF20-D3127A4AC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щая информация</a:t>
            </a:r>
          </a:p>
        </p:txBody>
      </p:sp>
      <p:sp>
        <p:nvSpPr>
          <p:cNvPr id="3" name="Google Shape;2326;p37">
            <a:extLst>
              <a:ext uri="{FF2B5EF4-FFF2-40B4-BE49-F238E27FC236}">
                <a16:creationId xmlns:a16="http://schemas.microsoft.com/office/drawing/2014/main" id="{A19BA59B-23A2-4782-B457-CA39F383A67B}"/>
              </a:ext>
            </a:extLst>
          </p:cNvPr>
          <p:cNvSpPr txBox="1"/>
          <p:nvPr/>
        </p:nvSpPr>
        <p:spPr>
          <a:xfrm>
            <a:off x="2450631" y="2000257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Задача теста</a:t>
            </a:r>
            <a:endParaRPr sz="1800"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4" name="Google Shape;2327;p37">
            <a:extLst>
              <a:ext uri="{FF2B5EF4-FFF2-40B4-BE49-F238E27FC236}">
                <a16:creationId xmlns:a16="http://schemas.microsoft.com/office/drawing/2014/main" id="{F752C14B-311B-4DA4-BF31-5AD4C307A260}"/>
              </a:ext>
            </a:extLst>
          </p:cNvPr>
          <p:cNvSpPr txBox="1"/>
          <p:nvPr/>
        </p:nvSpPr>
        <p:spPr>
          <a:xfrm>
            <a:off x="2599961" y="2353878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rgbClr val="000000"/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Исследовать  эффективность двух вариантов акций</a:t>
            </a:r>
            <a:endParaRPr sz="1200" dirty="0">
              <a:solidFill>
                <a:srgbClr val="000000"/>
              </a:solidFill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  <p:sp>
        <p:nvSpPr>
          <p:cNvPr id="5" name="Google Shape;2346;p37">
            <a:extLst>
              <a:ext uri="{FF2B5EF4-FFF2-40B4-BE49-F238E27FC236}">
                <a16:creationId xmlns:a16="http://schemas.microsoft.com/office/drawing/2014/main" id="{19DF557C-D437-4814-9A3E-3D5637600502}"/>
              </a:ext>
            </a:extLst>
          </p:cNvPr>
          <p:cNvSpPr/>
          <p:nvPr/>
        </p:nvSpPr>
        <p:spPr>
          <a:xfrm>
            <a:off x="3103061" y="1091593"/>
            <a:ext cx="683700" cy="683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6" name="Google Shape;2353;p37">
            <a:extLst>
              <a:ext uri="{FF2B5EF4-FFF2-40B4-BE49-F238E27FC236}">
                <a16:creationId xmlns:a16="http://schemas.microsoft.com/office/drawing/2014/main" id="{1D59625E-D817-43BE-B7E8-1AB05EA11A42}"/>
              </a:ext>
            </a:extLst>
          </p:cNvPr>
          <p:cNvGrpSpPr/>
          <p:nvPr/>
        </p:nvGrpSpPr>
        <p:grpSpPr>
          <a:xfrm>
            <a:off x="3275314" y="1263820"/>
            <a:ext cx="339200" cy="339271"/>
            <a:chOff x="5049725" y="2027900"/>
            <a:chExt cx="481750" cy="481850"/>
          </a:xfrm>
        </p:grpSpPr>
        <p:sp>
          <p:nvSpPr>
            <p:cNvPr id="7" name="Google Shape;2354;p37">
              <a:extLst>
                <a:ext uri="{FF2B5EF4-FFF2-40B4-BE49-F238E27FC236}">
                  <a16:creationId xmlns:a16="http://schemas.microsoft.com/office/drawing/2014/main" id="{B615B51B-7073-437E-8A96-3BE77341954F}"/>
                </a:ext>
              </a:extLst>
            </p:cNvPr>
            <p:cNvSpPr/>
            <p:nvPr/>
          </p:nvSpPr>
          <p:spPr>
            <a:xfrm>
              <a:off x="5191775" y="2394925"/>
              <a:ext cx="197625" cy="114825"/>
            </a:xfrm>
            <a:custGeom>
              <a:avLst/>
              <a:gdLst/>
              <a:ahLst/>
              <a:cxnLst/>
              <a:rect l="l" t="t" r="r" b="b"/>
              <a:pathLst>
                <a:path w="7905" h="4593" extrusionOk="0">
                  <a:moveTo>
                    <a:pt x="0" y="0"/>
                  </a:moveTo>
                  <a:lnTo>
                    <a:pt x="0" y="566"/>
                  </a:lnTo>
                  <a:cubicBezTo>
                    <a:pt x="3" y="1298"/>
                    <a:pt x="479" y="1949"/>
                    <a:pt x="1178" y="2171"/>
                  </a:cubicBezTo>
                  <a:cubicBezTo>
                    <a:pt x="1407" y="3502"/>
                    <a:pt x="2560" y="4593"/>
                    <a:pt x="3954" y="4593"/>
                  </a:cubicBezTo>
                  <a:cubicBezTo>
                    <a:pt x="5345" y="4593"/>
                    <a:pt x="6499" y="3502"/>
                    <a:pt x="6728" y="2171"/>
                  </a:cubicBezTo>
                  <a:cubicBezTo>
                    <a:pt x="7426" y="1949"/>
                    <a:pt x="7902" y="1298"/>
                    <a:pt x="7905" y="566"/>
                  </a:cubicBezTo>
                  <a:lnTo>
                    <a:pt x="790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8" name="Google Shape;2355;p37">
              <a:extLst>
                <a:ext uri="{FF2B5EF4-FFF2-40B4-BE49-F238E27FC236}">
                  <a16:creationId xmlns:a16="http://schemas.microsoft.com/office/drawing/2014/main" id="{923968BB-F0BC-4134-B15F-91BADCBB6C46}"/>
                </a:ext>
              </a:extLst>
            </p:cNvPr>
            <p:cNvSpPr/>
            <p:nvPr/>
          </p:nvSpPr>
          <p:spPr>
            <a:xfrm>
              <a:off x="5113625" y="2027900"/>
              <a:ext cx="347300" cy="338825"/>
            </a:xfrm>
            <a:custGeom>
              <a:avLst/>
              <a:gdLst/>
              <a:ahLst/>
              <a:cxnLst/>
              <a:rect l="l" t="t" r="r" b="b"/>
              <a:pathLst>
                <a:path w="13892" h="13553" extrusionOk="0">
                  <a:moveTo>
                    <a:pt x="7080" y="2260"/>
                  </a:moveTo>
                  <a:cubicBezTo>
                    <a:pt x="9574" y="2263"/>
                    <a:pt x="11594" y="4284"/>
                    <a:pt x="11597" y="6777"/>
                  </a:cubicBezTo>
                  <a:cubicBezTo>
                    <a:pt x="11597" y="7090"/>
                    <a:pt x="11344" y="7340"/>
                    <a:pt x="11031" y="7340"/>
                  </a:cubicBezTo>
                  <a:cubicBezTo>
                    <a:pt x="10718" y="7340"/>
                    <a:pt x="10468" y="7090"/>
                    <a:pt x="10468" y="6777"/>
                  </a:cubicBezTo>
                  <a:cubicBezTo>
                    <a:pt x="10465" y="4907"/>
                    <a:pt x="8950" y="3392"/>
                    <a:pt x="7080" y="3389"/>
                  </a:cubicBezTo>
                  <a:cubicBezTo>
                    <a:pt x="6767" y="3389"/>
                    <a:pt x="6514" y="3136"/>
                    <a:pt x="6514" y="2826"/>
                  </a:cubicBezTo>
                  <a:cubicBezTo>
                    <a:pt x="6514" y="2513"/>
                    <a:pt x="6767" y="2260"/>
                    <a:pt x="7080" y="2260"/>
                  </a:cubicBezTo>
                  <a:close/>
                  <a:moveTo>
                    <a:pt x="7070" y="1"/>
                  </a:moveTo>
                  <a:cubicBezTo>
                    <a:pt x="6595" y="1"/>
                    <a:pt x="6111" y="50"/>
                    <a:pt x="5623" y="152"/>
                  </a:cubicBezTo>
                  <a:cubicBezTo>
                    <a:pt x="3075" y="685"/>
                    <a:pt x="1001" y="2754"/>
                    <a:pt x="459" y="5301"/>
                  </a:cubicBezTo>
                  <a:cubicBezTo>
                    <a:pt x="1" y="7469"/>
                    <a:pt x="567" y="9644"/>
                    <a:pt x="2015" y="11270"/>
                  </a:cubicBezTo>
                  <a:cubicBezTo>
                    <a:pt x="2584" y="11908"/>
                    <a:pt x="2952" y="12703"/>
                    <a:pt x="3072" y="13552"/>
                  </a:cubicBezTo>
                  <a:lnTo>
                    <a:pt x="11088" y="13552"/>
                  </a:lnTo>
                  <a:cubicBezTo>
                    <a:pt x="11221" y="12691"/>
                    <a:pt x="11597" y="11887"/>
                    <a:pt x="12175" y="11233"/>
                  </a:cubicBezTo>
                  <a:cubicBezTo>
                    <a:pt x="13259" y="10002"/>
                    <a:pt x="13892" y="8418"/>
                    <a:pt x="13892" y="6777"/>
                  </a:cubicBezTo>
                  <a:cubicBezTo>
                    <a:pt x="13892" y="2969"/>
                    <a:pt x="10766" y="1"/>
                    <a:pt x="70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9" name="Google Shape;2356;p37">
              <a:extLst>
                <a:ext uri="{FF2B5EF4-FFF2-40B4-BE49-F238E27FC236}">
                  <a16:creationId xmlns:a16="http://schemas.microsoft.com/office/drawing/2014/main" id="{2115486E-C2D3-468D-98C8-426A9939F70A}"/>
                </a:ext>
              </a:extLst>
            </p:cNvPr>
            <p:cNvSpPr/>
            <p:nvPr/>
          </p:nvSpPr>
          <p:spPr>
            <a:xfrm>
              <a:off x="5049725" y="2197300"/>
              <a:ext cx="56400" cy="28275"/>
            </a:xfrm>
            <a:custGeom>
              <a:avLst/>
              <a:gdLst/>
              <a:ahLst/>
              <a:cxnLst/>
              <a:rect l="l" t="t" r="r" b="b"/>
              <a:pathLst>
                <a:path w="2256" h="1131" extrusionOk="0">
                  <a:moveTo>
                    <a:pt x="563" y="1"/>
                  </a:moveTo>
                  <a:cubicBezTo>
                    <a:pt x="250" y="1"/>
                    <a:pt x="0" y="254"/>
                    <a:pt x="0" y="567"/>
                  </a:cubicBezTo>
                  <a:cubicBezTo>
                    <a:pt x="0" y="877"/>
                    <a:pt x="250" y="1130"/>
                    <a:pt x="563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0" name="Google Shape;2357;p37">
              <a:extLst>
                <a:ext uri="{FF2B5EF4-FFF2-40B4-BE49-F238E27FC236}">
                  <a16:creationId xmlns:a16="http://schemas.microsoft.com/office/drawing/2014/main" id="{241B414E-4584-4C60-97EE-CA6794538607}"/>
                </a:ext>
              </a:extLst>
            </p:cNvPr>
            <p:cNvSpPr/>
            <p:nvPr/>
          </p:nvSpPr>
          <p:spPr>
            <a:xfrm>
              <a:off x="5052575" y="2102800"/>
              <a:ext cx="50850" cy="48075"/>
            </a:xfrm>
            <a:custGeom>
              <a:avLst/>
              <a:gdLst/>
              <a:ahLst/>
              <a:cxnLst/>
              <a:rect l="l" t="t" r="r" b="b"/>
              <a:pathLst>
                <a:path w="2034" h="1923" extrusionOk="0">
                  <a:moveTo>
                    <a:pt x="623" y="0"/>
                  </a:moveTo>
                  <a:cubicBezTo>
                    <a:pt x="478" y="0"/>
                    <a:pt x="333" y="56"/>
                    <a:pt x="224" y="167"/>
                  </a:cubicBezTo>
                  <a:cubicBezTo>
                    <a:pt x="4" y="384"/>
                    <a:pt x="1" y="736"/>
                    <a:pt x="214" y="959"/>
                  </a:cubicBezTo>
                  <a:lnTo>
                    <a:pt x="1015" y="1757"/>
                  </a:lnTo>
                  <a:cubicBezTo>
                    <a:pt x="1125" y="1867"/>
                    <a:pt x="1269" y="1922"/>
                    <a:pt x="1413" y="1922"/>
                  </a:cubicBezTo>
                  <a:cubicBezTo>
                    <a:pt x="1558" y="1922"/>
                    <a:pt x="1702" y="1867"/>
                    <a:pt x="1813" y="1757"/>
                  </a:cubicBezTo>
                  <a:cubicBezTo>
                    <a:pt x="2033" y="1534"/>
                    <a:pt x="2033" y="1179"/>
                    <a:pt x="1813" y="959"/>
                  </a:cubicBezTo>
                  <a:lnTo>
                    <a:pt x="1015" y="158"/>
                  </a:lnTo>
                  <a:cubicBezTo>
                    <a:pt x="906" y="53"/>
                    <a:pt x="764" y="0"/>
                    <a:pt x="62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" name="Google Shape;2358;p37">
              <a:extLst>
                <a:ext uri="{FF2B5EF4-FFF2-40B4-BE49-F238E27FC236}">
                  <a16:creationId xmlns:a16="http://schemas.microsoft.com/office/drawing/2014/main" id="{0303F01D-D040-4F32-92E1-A72E82F1154A}"/>
                </a:ext>
              </a:extLst>
            </p:cNvPr>
            <p:cNvSpPr/>
            <p:nvPr/>
          </p:nvSpPr>
          <p:spPr>
            <a:xfrm>
              <a:off x="5052575" y="2272175"/>
              <a:ext cx="50700" cy="47900"/>
            </a:xfrm>
            <a:custGeom>
              <a:avLst/>
              <a:gdLst/>
              <a:ahLst/>
              <a:cxnLst/>
              <a:rect l="l" t="t" r="r" b="b"/>
              <a:pathLst>
                <a:path w="2028" h="1916" extrusionOk="0">
                  <a:moveTo>
                    <a:pt x="1405" y="0"/>
                  </a:moveTo>
                  <a:cubicBezTo>
                    <a:pt x="1264" y="0"/>
                    <a:pt x="1124" y="53"/>
                    <a:pt x="1015" y="159"/>
                  </a:cubicBezTo>
                  <a:lnTo>
                    <a:pt x="214" y="960"/>
                  </a:lnTo>
                  <a:cubicBezTo>
                    <a:pt x="1" y="1179"/>
                    <a:pt x="4" y="1532"/>
                    <a:pt x="224" y="1749"/>
                  </a:cubicBezTo>
                  <a:cubicBezTo>
                    <a:pt x="333" y="1860"/>
                    <a:pt x="478" y="1916"/>
                    <a:pt x="623" y="1916"/>
                  </a:cubicBezTo>
                  <a:cubicBezTo>
                    <a:pt x="764" y="1916"/>
                    <a:pt x="906" y="1863"/>
                    <a:pt x="1015" y="1758"/>
                  </a:cubicBezTo>
                  <a:lnTo>
                    <a:pt x="1813" y="960"/>
                  </a:lnTo>
                  <a:cubicBezTo>
                    <a:pt x="2027" y="737"/>
                    <a:pt x="2024" y="384"/>
                    <a:pt x="1804" y="168"/>
                  </a:cubicBezTo>
                  <a:cubicBezTo>
                    <a:pt x="1695" y="56"/>
                    <a:pt x="1550" y="0"/>
                    <a:pt x="140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2" name="Google Shape;2359;p37">
              <a:extLst>
                <a:ext uri="{FF2B5EF4-FFF2-40B4-BE49-F238E27FC236}">
                  <a16:creationId xmlns:a16="http://schemas.microsoft.com/office/drawing/2014/main" id="{3DB5F716-464D-4F9B-833D-676663D18611}"/>
                </a:ext>
              </a:extLst>
            </p:cNvPr>
            <p:cNvSpPr/>
            <p:nvPr/>
          </p:nvSpPr>
          <p:spPr>
            <a:xfrm>
              <a:off x="5475050" y="2197300"/>
              <a:ext cx="56425" cy="28275"/>
            </a:xfrm>
            <a:custGeom>
              <a:avLst/>
              <a:gdLst/>
              <a:ahLst/>
              <a:cxnLst/>
              <a:rect l="l" t="t" r="r" b="b"/>
              <a:pathLst>
                <a:path w="2257" h="1131" extrusionOk="0">
                  <a:moveTo>
                    <a:pt x="564" y="1"/>
                  </a:moveTo>
                  <a:cubicBezTo>
                    <a:pt x="251" y="1"/>
                    <a:pt x="1" y="254"/>
                    <a:pt x="1" y="567"/>
                  </a:cubicBezTo>
                  <a:cubicBezTo>
                    <a:pt x="1" y="877"/>
                    <a:pt x="251" y="1130"/>
                    <a:pt x="564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3" name="Google Shape;2360;p37">
              <a:extLst>
                <a:ext uri="{FF2B5EF4-FFF2-40B4-BE49-F238E27FC236}">
                  <a16:creationId xmlns:a16="http://schemas.microsoft.com/office/drawing/2014/main" id="{ADDDB373-E87D-46A5-8C13-D3315DAA0F97}"/>
                </a:ext>
              </a:extLst>
            </p:cNvPr>
            <p:cNvSpPr/>
            <p:nvPr/>
          </p:nvSpPr>
          <p:spPr>
            <a:xfrm>
              <a:off x="5477925" y="2102800"/>
              <a:ext cx="50675" cy="47900"/>
            </a:xfrm>
            <a:custGeom>
              <a:avLst/>
              <a:gdLst/>
              <a:ahLst/>
              <a:cxnLst/>
              <a:rect l="l" t="t" r="r" b="b"/>
              <a:pathLst>
                <a:path w="2027" h="1916" extrusionOk="0">
                  <a:moveTo>
                    <a:pt x="1405" y="0"/>
                  </a:moveTo>
                  <a:cubicBezTo>
                    <a:pt x="1264" y="0"/>
                    <a:pt x="1123" y="53"/>
                    <a:pt x="1015" y="158"/>
                  </a:cubicBezTo>
                  <a:lnTo>
                    <a:pt x="214" y="959"/>
                  </a:lnTo>
                  <a:cubicBezTo>
                    <a:pt x="0" y="1179"/>
                    <a:pt x="3" y="1531"/>
                    <a:pt x="223" y="1748"/>
                  </a:cubicBezTo>
                  <a:cubicBezTo>
                    <a:pt x="333" y="1860"/>
                    <a:pt x="478" y="1915"/>
                    <a:pt x="623" y="1915"/>
                  </a:cubicBezTo>
                  <a:cubicBezTo>
                    <a:pt x="764" y="1915"/>
                    <a:pt x="905" y="1863"/>
                    <a:pt x="1015" y="1757"/>
                  </a:cubicBezTo>
                  <a:lnTo>
                    <a:pt x="1813" y="959"/>
                  </a:lnTo>
                  <a:cubicBezTo>
                    <a:pt x="2027" y="736"/>
                    <a:pt x="2024" y="384"/>
                    <a:pt x="1804" y="167"/>
                  </a:cubicBezTo>
                  <a:cubicBezTo>
                    <a:pt x="1694" y="56"/>
                    <a:pt x="1549" y="0"/>
                    <a:pt x="140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4" name="Google Shape;2361;p37">
              <a:extLst>
                <a:ext uri="{FF2B5EF4-FFF2-40B4-BE49-F238E27FC236}">
                  <a16:creationId xmlns:a16="http://schemas.microsoft.com/office/drawing/2014/main" id="{C611676D-25F7-400B-AFEC-CAF36DA7811B}"/>
                </a:ext>
              </a:extLst>
            </p:cNvPr>
            <p:cNvSpPr/>
            <p:nvPr/>
          </p:nvSpPr>
          <p:spPr>
            <a:xfrm>
              <a:off x="5477775" y="2272000"/>
              <a:ext cx="50825" cy="48075"/>
            </a:xfrm>
            <a:custGeom>
              <a:avLst/>
              <a:gdLst/>
              <a:ahLst/>
              <a:cxnLst/>
              <a:rect l="l" t="t" r="r" b="b"/>
              <a:pathLst>
                <a:path w="2033" h="1923" extrusionOk="0">
                  <a:moveTo>
                    <a:pt x="621" y="1"/>
                  </a:moveTo>
                  <a:cubicBezTo>
                    <a:pt x="476" y="1"/>
                    <a:pt x="331" y="56"/>
                    <a:pt x="220" y="166"/>
                  </a:cubicBezTo>
                  <a:cubicBezTo>
                    <a:pt x="0" y="388"/>
                    <a:pt x="0" y="744"/>
                    <a:pt x="220" y="967"/>
                  </a:cubicBezTo>
                  <a:lnTo>
                    <a:pt x="1021" y="1765"/>
                  </a:lnTo>
                  <a:cubicBezTo>
                    <a:pt x="1129" y="1870"/>
                    <a:pt x="1270" y="1923"/>
                    <a:pt x="1411" y="1923"/>
                  </a:cubicBezTo>
                  <a:cubicBezTo>
                    <a:pt x="1555" y="1923"/>
                    <a:pt x="1700" y="1867"/>
                    <a:pt x="1810" y="1756"/>
                  </a:cubicBezTo>
                  <a:cubicBezTo>
                    <a:pt x="2030" y="1539"/>
                    <a:pt x="2033" y="1186"/>
                    <a:pt x="1819" y="967"/>
                  </a:cubicBezTo>
                  <a:lnTo>
                    <a:pt x="1021" y="166"/>
                  </a:lnTo>
                  <a:cubicBezTo>
                    <a:pt x="910" y="56"/>
                    <a:pt x="765" y="1"/>
                    <a:pt x="62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sp>
        <p:nvSpPr>
          <p:cNvPr id="15" name="Google Shape;2321;p37">
            <a:extLst>
              <a:ext uri="{FF2B5EF4-FFF2-40B4-BE49-F238E27FC236}">
                <a16:creationId xmlns:a16="http://schemas.microsoft.com/office/drawing/2014/main" id="{5AFEEC2D-E6C4-4B2A-A755-C91598B8E8CB}"/>
              </a:ext>
            </a:extLst>
          </p:cNvPr>
          <p:cNvSpPr txBox="1"/>
          <p:nvPr/>
        </p:nvSpPr>
        <p:spPr>
          <a:xfrm>
            <a:off x="4572000" y="2066778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Количество наблюдений</a:t>
            </a:r>
            <a:endParaRPr sz="1800"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16" name="Google Shape;2323;p37">
            <a:extLst>
              <a:ext uri="{FF2B5EF4-FFF2-40B4-BE49-F238E27FC236}">
                <a16:creationId xmlns:a16="http://schemas.microsoft.com/office/drawing/2014/main" id="{34AAED5F-A722-4D17-94C9-8D4AA2DD775C}"/>
              </a:ext>
            </a:extLst>
          </p:cNvPr>
          <p:cNvSpPr txBox="1"/>
          <p:nvPr/>
        </p:nvSpPr>
        <p:spPr>
          <a:xfrm>
            <a:off x="4717200" y="2520267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lnSpc>
                <a:spcPct val="115000"/>
              </a:lnSpc>
              <a:buNone/>
              <a:defRPr sz="1200">
                <a:latin typeface="Fira Sans" panose="020B0604020202020204" charset="0"/>
                <a:ea typeface="Roboto"/>
                <a:cs typeface="Roboto"/>
              </a:defRPr>
            </a:lvl1pPr>
          </a:lstStyle>
          <a:p>
            <a:r>
              <a:rPr lang="ru-RU" dirty="0">
                <a:sym typeface="Roboto"/>
              </a:rPr>
              <a:t>Было протестировано </a:t>
            </a:r>
            <a:r>
              <a:rPr lang="ru-RU" dirty="0"/>
              <a:t>10840 записи</a:t>
            </a:r>
            <a:endParaRPr dirty="0">
              <a:sym typeface="Roboto"/>
            </a:endParaRPr>
          </a:p>
        </p:txBody>
      </p:sp>
      <p:sp>
        <p:nvSpPr>
          <p:cNvPr id="18" name="Google Shape;2347;p37">
            <a:extLst>
              <a:ext uri="{FF2B5EF4-FFF2-40B4-BE49-F238E27FC236}">
                <a16:creationId xmlns:a16="http://schemas.microsoft.com/office/drawing/2014/main" id="{0F84DD1E-95BB-4DA0-B198-886D393FBEFC}"/>
              </a:ext>
            </a:extLst>
          </p:cNvPr>
          <p:cNvSpPr/>
          <p:nvPr/>
        </p:nvSpPr>
        <p:spPr>
          <a:xfrm>
            <a:off x="5220300" y="1091593"/>
            <a:ext cx="683700" cy="6837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" name="Google Shape;2362;p37">
            <a:extLst>
              <a:ext uri="{FF2B5EF4-FFF2-40B4-BE49-F238E27FC236}">
                <a16:creationId xmlns:a16="http://schemas.microsoft.com/office/drawing/2014/main" id="{99D01B1E-426F-4659-9834-9D36420F6CBF}"/>
              </a:ext>
            </a:extLst>
          </p:cNvPr>
          <p:cNvGrpSpPr/>
          <p:nvPr/>
        </p:nvGrpSpPr>
        <p:grpSpPr>
          <a:xfrm>
            <a:off x="5364793" y="1258576"/>
            <a:ext cx="394713" cy="421927"/>
            <a:chOff x="-2312225" y="3238300"/>
            <a:chExt cx="274125" cy="293025"/>
          </a:xfrm>
        </p:grpSpPr>
        <p:sp>
          <p:nvSpPr>
            <p:cNvPr id="20" name="Google Shape;2363;p37">
              <a:extLst>
                <a:ext uri="{FF2B5EF4-FFF2-40B4-BE49-F238E27FC236}">
                  <a16:creationId xmlns:a16="http://schemas.microsoft.com/office/drawing/2014/main" id="{D69CAF2F-52BD-4024-AD07-47E4769DD1AF}"/>
                </a:ext>
              </a:extLst>
            </p:cNvPr>
            <p:cNvSpPr/>
            <p:nvPr/>
          </p:nvSpPr>
          <p:spPr>
            <a:xfrm>
              <a:off x="-2241325" y="3289500"/>
              <a:ext cx="203225" cy="241825"/>
            </a:xfrm>
            <a:custGeom>
              <a:avLst/>
              <a:gdLst/>
              <a:ahLst/>
              <a:cxnLst/>
              <a:rect l="l" t="t" r="r" b="b"/>
              <a:pathLst>
                <a:path w="8129" h="9673" extrusionOk="0">
                  <a:moveTo>
                    <a:pt x="2458" y="0"/>
                  </a:moveTo>
                  <a:cubicBezTo>
                    <a:pt x="2174" y="0"/>
                    <a:pt x="1954" y="221"/>
                    <a:pt x="1954" y="504"/>
                  </a:cubicBezTo>
                  <a:lnTo>
                    <a:pt x="1954" y="2836"/>
                  </a:lnTo>
                  <a:lnTo>
                    <a:pt x="1954" y="5167"/>
                  </a:lnTo>
                  <a:lnTo>
                    <a:pt x="914" y="4128"/>
                  </a:lnTo>
                  <a:cubicBezTo>
                    <a:pt x="820" y="4033"/>
                    <a:pt x="693" y="3986"/>
                    <a:pt x="567" y="3986"/>
                  </a:cubicBezTo>
                  <a:cubicBezTo>
                    <a:pt x="441" y="3986"/>
                    <a:pt x="315" y="4033"/>
                    <a:pt x="221" y="4128"/>
                  </a:cubicBezTo>
                  <a:cubicBezTo>
                    <a:pt x="0" y="4317"/>
                    <a:pt x="0" y="4632"/>
                    <a:pt x="221" y="4852"/>
                  </a:cubicBezTo>
                  <a:lnTo>
                    <a:pt x="2678" y="7310"/>
                  </a:lnTo>
                  <a:lnTo>
                    <a:pt x="2678" y="8664"/>
                  </a:lnTo>
                  <a:cubicBezTo>
                    <a:pt x="2678" y="9200"/>
                    <a:pt x="3151" y="9672"/>
                    <a:pt x="3718" y="9672"/>
                  </a:cubicBezTo>
                  <a:lnTo>
                    <a:pt x="6459" y="9672"/>
                  </a:lnTo>
                  <a:cubicBezTo>
                    <a:pt x="7026" y="9672"/>
                    <a:pt x="7499" y="9200"/>
                    <a:pt x="7499" y="8664"/>
                  </a:cubicBezTo>
                  <a:lnTo>
                    <a:pt x="7499" y="8066"/>
                  </a:lnTo>
                  <a:cubicBezTo>
                    <a:pt x="7688" y="7656"/>
                    <a:pt x="7845" y="7278"/>
                    <a:pt x="7940" y="6837"/>
                  </a:cubicBezTo>
                  <a:cubicBezTo>
                    <a:pt x="8034" y="6396"/>
                    <a:pt x="8129" y="5986"/>
                    <a:pt x="8129" y="5514"/>
                  </a:cubicBezTo>
                  <a:lnTo>
                    <a:pt x="8129" y="3308"/>
                  </a:lnTo>
                  <a:cubicBezTo>
                    <a:pt x="8129" y="3025"/>
                    <a:pt x="7877" y="2773"/>
                    <a:pt x="7625" y="2773"/>
                  </a:cubicBezTo>
                  <a:cubicBezTo>
                    <a:pt x="7341" y="2773"/>
                    <a:pt x="7089" y="3025"/>
                    <a:pt x="7089" y="3308"/>
                  </a:cubicBezTo>
                  <a:lnTo>
                    <a:pt x="7089" y="3812"/>
                  </a:lnTo>
                  <a:cubicBezTo>
                    <a:pt x="7089" y="4002"/>
                    <a:pt x="6931" y="4159"/>
                    <a:pt x="6742" y="4159"/>
                  </a:cubicBezTo>
                  <a:cubicBezTo>
                    <a:pt x="6553" y="4159"/>
                    <a:pt x="6396" y="4002"/>
                    <a:pt x="6396" y="3812"/>
                  </a:cubicBezTo>
                  <a:lnTo>
                    <a:pt x="6396" y="2615"/>
                  </a:lnTo>
                  <a:cubicBezTo>
                    <a:pt x="6396" y="2363"/>
                    <a:pt x="6144" y="2111"/>
                    <a:pt x="5892" y="2111"/>
                  </a:cubicBezTo>
                  <a:cubicBezTo>
                    <a:pt x="5608" y="2111"/>
                    <a:pt x="5356" y="2363"/>
                    <a:pt x="5356" y="2615"/>
                  </a:cubicBezTo>
                  <a:cubicBezTo>
                    <a:pt x="5357" y="2615"/>
                    <a:pt x="5358" y="2615"/>
                    <a:pt x="5359" y="2615"/>
                  </a:cubicBezTo>
                  <a:cubicBezTo>
                    <a:pt x="5418" y="2615"/>
                    <a:pt x="5419" y="3769"/>
                    <a:pt x="5419" y="3781"/>
                  </a:cubicBezTo>
                  <a:lnTo>
                    <a:pt x="5419" y="3781"/>
                  </a:lnTo>
                  <a:cubicBezTo>
                    <a:pt x="5419" y="3970"/>
                    <a:pt x="5262" y="4128"/>
                    <a:pt x="5041" y="4128"/>
                  </a:cubicBezTo>
                  <a:cubicBezTo>
                    <a:pt x="4852" y="4128"/>
                    <a:pt x="4695" y="3970"/>
                    <a:pt x="4695" y="3781"/>
                  </a:cubicBezTo>
                  <a:lnTo>
                    <a:pt x="4695" y="2584"/>
                  </a:lnTo>
                  <a:cubicBezTo>
                    <a:pt x="4695" y="2332"/>
                    <a:pt x="4474" y="2080"/>
                    <a:pt x="4191" y="2080"/>
                  </a:cubicBezTo>
                  <a:cubicBezTo>
                    <a:pt x="3907" y="2080"/>
                    <a:pt x="3686" y="2332"/>
                    <a:pt x="3686" y="2584"/>
                  </a:cubicBezTo>
                  <a:lnTo>
                    <a:pt x="3686" y="3781"/>
                  </a:lnTo>
                  <a:cubicBezTo>
                    <a:pt x="3686" y="3970"/>
                    <a:pt x="3529" y="4128"/>
                    <a:pt x="3308" y="4128"/>
                  </a:cubicBezTo>
                  <a:cubicBezTo>
                    <a:pt x="3119" y="4128"/>
                    <a:pt x="2962" y="3970"/>
                    <a:pt x="2962" y="3781"/>
                  </a:cubicBezTo>
                  <a:lnTo>
                    <a:pt x="2962" y="504"/>
                  </a:lnTo>
                  <a:cubicBezTo>
                    <a:pt x="2962" y="221"/>
                    <a:pt x="2741" y="0"/>
                    <a:pt x="245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364;p37">
              <a:extLst>
                <a:ext uri="{FF2B5EF4-FFF2-40B4-BE49-F238E27FC236}">
                  <a16:creationId xmlns:a16="http://schemas.microsoft.com/office/drawing/2014/main" id="{5F2BDAB2-5600-4E15-918E-81F6DDB13488}"/>
                </a:ext>
              </a:extLst>
            </p:cNvPr>
            <p:cNvSpPr/>
            <p:nvPr/>
          </p:nvSpPr>
          <p:spPr>
            <a:xfrm>
              <a:off x="-2312225" y="3238300"/>
              <a:ext cx="241825" cy="241050"/>
            </a:xfrm>
            <a:custGeom>
              <a:avLst/>
              <a:gdLst/>
              <a:ahLst/>
              <a:cxnLst/>
              <a:rect l="l" t="t" r="r" b="b"/>
              <a:pathLst>
                <a:path w="9673" h="9642" extrusionOk="0">
                  <a:moveTo>
                    <a:pt x="379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1733"/>
                  </a:lnTo>
                  <a:cubicBezTo>
                    <a:pt x="1" y="1922"/>
                    <a:pt x="158" y="2080"/>
                    <a:pt x="379" y="2080"/>
                  </a:cubicBezTo>
                  <a:lnTo>
                    <a:pt x="726" y="2080"/>
                  </a:lnTo>
                  <a:lnTo>
                    <a:pt x="726" y="7562"/>
                  </a:lnTo>
                  <a:lnTo>
                    <a:pt x="379" y="7562"/>
                  </a:lnTo>
                  <a:cubicBezTo>
                    <a:pt x="158" y="7562"/>
                    <a:pt x="1" y="7719"/>
                    <a:pt x="1" y="7908"/>
                  </a:cubicBezTo>
                  <a:lnTo>
                    <a:pt x="1" y="9294"/>
                  </a:lnTo>
                  <a:cubicBezTo>
                    <a:pt x="1" y="9484"/>
                    <a:pt x="158" y="9641"/>
                    <a:pt x="379" y="9641"/>
                  </a:cubicBezTo>
                  <a:lnTo>
                    <a:pt x="1734" y="9641"/>
                  </a:lnTo>
                  <a:cubicBezTo>
                    <a:pt x="1954" y="9641"/>
                    <a:pt x="2112" y="9484"/>
                    <a:pt x="2112" y="9294"/>
                  </a:cubicBezTo>
                  <a:lnTo>
                    <a:pt x="2112" y="8916"/>
                  </a:lnTo>
                  <a:lnTo>
                    <a:pt x="4160" y="8916"/>
                  </a:lnTo>
                  <a:lnTo>
                    <a:pt x="3435" y="8223"/>
                  </a:lnTo>
                  <a:lnTo>
                    <a:pt x="2112" y="8223"/>
                  </a:lnTo>
                  <a:lnTo>
                    <a:pt x="2112" y="7877"/>
                  </a:lnTo>
                  <a:cubicBezTo>
                    <a:pt x="2112" y="7688"/>
                    <a:pt x="1954" y="7530"/>
                    <a:pt x="1734" y="7530"/>
                  </a:cubicBezTo>
                  <a:lnTo>
                    <a:pt x="1387" y="7530"/>
                  </a:lnTo>
                  <a:lnTo>
                    <a:pt x="1387" y="2080"/>
                  </a:lnTo>
                  <a:lnTo>
                    <a:pt x="1734" y="2080"/>
                  </a:lnTo>
                  <a:cubicBezTo>
                    <a:pt x="1954" y="2080"/>
                    <a:pt x="2112" y="1922"/>
                    <a:pt x="2112" y="1733"/>
                  </a:cubicBezTo>
                  <a:lnTo>
                    <a:pt x="2112" y="1387"/>
                  </a:lnTo>
                  <a:lnTo>
                    <a:pt x="7562" y="1387"/>
                  </a:lnTo>
                  <a:lnTo>
                    <a:pt x="7562" y="1733"/>
                  </a:lnTo>
                  <a:cubicBezTo>
                    <a:pt x="7562" y="1922"/>
                    <a:pt x="7720" y="2080"/>
                    <a:pt x="7940" y="2080"/>
                  </a:cubicBezTo>
                  <a:lnTo>
                    <a:pt x="8287" y="2080"/>
                  </a:lnTo>
                  <a:lnTo>
                    <a:pt x="8287" y="3592"/>
                  </a:lnTo>
                  <a:cubicBezTo>
                    <a:pt x="8444" y="3498"/>
                    <a:pt x="8602" y="3466"/>
                    <a:pt x="8791" y="3466"/>
                  </a:cubicBezTo>
                  <a:cubicBezTo>
                    <a:pt x="8885" y="3466"/>
                    <a:pt x="8917" y="3466"/>
                    <a:pt x="8948" y="3498"/>
                  </a:cubicBezTo>
                  <a:lnTo>
                    <a:pt x="8948" y="2080"/>
                  </a:lnTo>
                  <a:lnTo>
                    <a:pt x="9326" y="2080"/>
                  </a:lnTo>
                  <a:cubicBezTo>
                    <a:pt x="9515" y="2080"/>
                    <a:pt x="9673" y="1922"/>
                    <a:pt x="9673" y="1733"/>
                  </a:cubicBezTo>
                  <a:lnTo>
                    <a:pt x="9673" y="347"/>
                  </a:lnTo>
                  <a:cubicBezTo>
                    <a:pt x="9673" y="158"/>
                    <a:pt x="9515" y="1"/>
                    <a:pt x="9326" y="1"/>
                  </a:cubicBezTo>
                  <a:lnTo>
                    <a:pt x="7940" y="1"/>
                  </a:lnTo>
                  <a:cubicBezTo>
                    <a:pt x="7751" y="1"/>
                    <a:pt x="7562" y="158"/>
                    <a:pt x="7562" y="347"/>
                  </a:cubicBezTo>
                  <a:lnTo>
                    <a:pt x="7562" y="694"/>
                  </a:lnTo>
                  <a:lnTo>
                    <a:pt x="2112" y="694"/>
                  </a:lnTo>
                  <a:lnTo>
                    <a:pt x="2112" y="347"/>
                  </a:lnTo>
                  <a:cubicBezTo>
                    <a:pt x="2112" y="158"/>
                    <a:pt x="1954" y="1"/>
                    <a:pt x="173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2" name="Google Shape;1264;p24">
            <a:extLst>
              <a:ext uri="{FF2B5EF4-FFF2-40B4-BE49-F238E27FC236}">
                <a16:creationId xmlns:a16="http://schemas.microsoft.com/office/drawing/2014/main" id="{F2B027FD-E03F-4FD9-A6E4-434CBF797D61}"/>
              </a:ext>
            </a:extLst>
          </p:cNvPr>
          <p:cNvSpPr/>
          <p:nvPr/>
        </p:nvSpPr>
        <p:spPr>
          <a:xfrm>
            <a:off x="3924300" y="3580219"/>
            <a:ext cx="1295400" cy="1295400"/>
          </a:xfrm>
          <a:prstGeom prst="ellipse">
            <a:avLst/>
          </a:prstGeom>
          <a:solidFill>
            <a:schemeClr val="accent1"/>
          </a:solidFill>
          <a:ln w="76200" cap="flat" cmpd="sng">
            <a:solidFill>
              <a:srgbClr val="EEEEE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1277;p24">
            <a:extLst>
              <a:ext uri="{FF2B5EF4-FFF2-40B4-BE49-F238E27FC236}">
                <a16:creationId xmlns:a16="http://schemas.microsoft.com/office/drawing/2014/main" id="{B7F3689D-5EFC-46FF-9639-F9EB0569D607}"/>
              </a:ext>
            </a:extLst>
          </p:cNvPr>
          <p:cNvSpPr txBox="1"/>
          <p:nvPr/>
        </p:nvSpPr>
        <p:spPr>
          <a:xfrm>
            <a:off x="225357" y="3978882"/>
            <a:ext cx="1795986" cy="52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r"/>
            <a:r>
              <a:rPr lang="ru-RU" sz="1200" dirty="0">
                <a:latin typeface="Fira Sans" panose="020B0604020202020204" charset="0"/>
              </a:rPr>
              <a:t>Клиент может получить дополнительные баллы лояльности за покупку, совершенную в течение ограниченного периода</a:t>
            </a:r>
            <a:endParaRPr sz="1200" dirty="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4" name="Google Shape;1282;p24">
            <a:extLst>
              <a:ext uri="{FF2B5EF4-FFF2-40B4-BE49-F238E27FC236}">
                <a16:creationId xmlns:a16="http://schemas.microsoft.com/office/drawing/2014/main" id="{FAFD4CC2-71CC-45D8-95C1-E5F324ECB25F}"/>
              </a:ext>
            </a:extLst>
          </p:cNvPr>
          <p:cNvSpPr txBox="1"/>
          <p:nvPr/>
        </p:nvSpPr>
        <p:spPr>
          <a:xfrm>
            <a:off x="5518017" y="4063076"/>
            <a:ext cx="1295400" cy="32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solidFill>
                  <a:schemeClr val="accent2"/>
                </a:solidFill>
                <a:highlight>
                  <a:srgbClr val="FFFFFF"/>
                </a:highlight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Сумма покупки</a:t>
            </a:r>
            <a:endParaRPr sz="1200" dirty="0">
              <a:solidFill>
                <a:schemeClr val="accent2"/>
              </a:solidFill>
              <a:highlight>
                <a:srgbClr val="FFFFFF"/>
              </a:highlight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cxnSp>
        <p:nvCxnSpPr>
          <p:cNvPr id="25" name="Google Shape;1289;p24">
            <a:extLst>
              <a:ext uri="{FF2B5EF4-FFF2-40B4-BE49-F238E27FC236}">
                <a16:creationId xmlns:a16="http://schemas.microsoft.com/office/drawing/2014/main" id="{83A63C4E-1FAE-4252-A36F-7701B27D54E6}"/>
              </a:ext>
            </a:extLst>
          </p:cNvPr>
          <p:cNvCxnSpPr>
            <a:cxnSpLocks/>
            <a:stCxn id="24" idx="3"/>
          </p:cNvCxnSpPr>
          <p:nvPr/>
        </p:nvCxnSpPr>
        <p:spPr>
          <a:xfrm>
            <a:off x="6813417" y="4227926"/>
            <a:ext cx="298200" cy="600"/>
          </a:xfrm>
          <a:prstGeom prst="bentConnector3">
            <a:avLst>
              <a:gd name="adj1" fmla="val 50019"/>
            </a:avLst>
          </a:prstGeom>
          <a:noFill/>
          <a:ln w="9525" cap="flat" cmpd="sng">
            <a:solidFill>
              <a:srgbClr val="000000"/>
            </a:solidFill>
            <a:prstDash val="solid"/>
            <a:round/>
            <a:headEnd type="diamond" w="med" len="med"/>
            <a:tailEnd type="none" w="med" len="med"/>
          </a:ln>
        </p:spPr>
      </p:cxnSp>
      <p:cxnSp>
        <p:nvCxnSpPr>
          <p:cNvPr id="26" name="Google Shape;1291;p24">
            <a:extLst>
              <a:ext uri="{FF2B5EF4-FFF2-40B4-BE49-F238E27FC236}">
                <a16:creationId xmlns:a16="http://schemas.microsoft.com/office/drawing/2014/main" id="{EEC7258C-DCEA-4C32-9AA3-7E91070A7419}"/>
              </a:ext>
            </a:extLst>
          </p:cNvPr>
          <p:cNvCxnSpPr>
            <a:cxnSpLocks/>
            <a:endCxn id="22" idx="2"/>
          </p:cNvCxnSpPr>
          <p:nvPr/>
        </p:nvCxnSpPr>
        <p:spPr>
          <a:xfrm>
            <a:off x="3625929" y="4227926"/>
            <a:ext cx="298500" cy="600"/>
          </a:xfrm>
          <a:prstGeom prst="bentConnector3">
            <a:avLst>
              <a:gd name="adj1" fmla="val 49978"/>
            </a:avLst>
          </a:prstGeom>
          <a:noFill/>
          <a:ln w="9525" cap="flat" cmpd="sng">
            <a:solidFill>
              <a:srgbClr val="000000"/>
            </a:solidFill>
            <a:prstDash val="solid"/>
            <a:round/>
            <a:headEnd type="diamond" w="med" len="med"/>
            <a:tailEnd type="none" w="med" len="med"/>
          </a:ln>
        </p:spPr>
      </p:cxnSp>
      <p:cxnSp>
        <p:nvCxnSpPr>
          <p:cNvPr id="27" name="Google Shape;1292;p24">
            <a:extLst>
              <a:ext uri="{FF2B5EF4-FFF2-40B4-BE49-F238E27FC236}">
                <a16:creationId xmlns:a16="http://schemas.microsoft.com/office/drawing/2014/main" id="{4F90EC4A-5AAF-4E54-9B3C-59BEADDEEE80}"/>
              </a:ext>
            </a:extLst>
          </p:cNvPr>
          <p:cNvCxnSpPr>
            <a:stCxn id="24" idx="1"/>
            <a:endCxn id="22" idx="6"/>
          </p:cNvCxnSpPr>
          <p:nvPr/>
        </p:nvCxnSpPr>
        <p:spPr>
          <a:xfrm flipH="1">
            <a:off x="5219817" y="4227926"/>
            <a:ext cx="298200" cy="600"/>
          </a:xfrm>
          <a:prstGeom prst="bentConnector3">
            <a:avLst>
              <a:gd name="adj1" fmla="val 50020"/>
            </a:avLst>
          </a:prstGeom>
          <a:noFill/>
          <a:ln w="9525" cap="flat" cmpd="sng">
            <a:solidFill>
              <a:srgbClr val="000000"/>
            </a:solidFill>
            <a:prstDash val="solid"/>
            <a:round/>
            <a:headEnd type="diamond" w="med" len="med"/>
            <a:tailEnd type="none" w="med" len="med"/>
          </a:ln>
        </p:spPr>
      </p:cxnSp>
      <p:sp>
        <p:nvSpPr>
          <p:cNvPr id="28" name="Google Shape;1295;p24">
            <a:extLst>
              <a:ext uri="{FF2B5EF4-FFF2-40B4-BE49-F238E27FC236}">
                <a16:creationId xmlns:a16="http://schemas.microsoft.com/office/drawing/2014/main" id="{3B9D1EBD-6236-4E38-8B30-2E9B6D7F799C}"/>
              </a:ext>
            </a:extLst>
          </p:cNvPr>
          <p:cNvSpPr txBox="1"/>
          <p:nvPr/>
        </p:nvSpPr>
        <p:spPr>
          <a:xfrm>
            <a:off x="4056953" y="4032427"/>
            <a:ext cx="1026026" cy="3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Условия акции</a:t>
            </a:r>
            <a:endParaRPr sz="1800" dirty="0">
              <a:solidFill>
                <a:srgbClr val="FFFFFF"/>
              </a:solidFill>
              <a:latin typeface="Fira Sans Extra Condensed Medium"/>
              <a:ea typeface="Fira Sans Extra Condensed Medium"/>
              <a:cs typeface="Fira Sans Extra Condensed Medium"/>
              <a:sym typeface="Fira Sans Extra Condensed Medium"/>
            </a:endParaRPr>
          </a:p>
        </p:txBody>
      </p:sp>
      <p:cxnSp>
        <p:nvCxnSpPr>
          <p:cNvPr id="29" name="Google Shape;1286;p24">
            <a:extLst>
              <a:ext uri="{FF2B5EF4-FFF2-40B4-BE49-F238E27FC236}">
                <a16:creationId xmlns:a16="http://schemas.microsoft.com/office/drawing/2014/main" id="{430A82B5-4182-4237-90E2-A0B7A7E06DB5}"/>
              </a:ext>
            </a:extLst>
          </p:cNvPr>
          <p:cNvCxnSpPr/>
          <p:nvPr/>
        </p:nvCxnSpPr>
        <p:spPr>
          <a:xfrm flipH="1">
            <a:off x="2014416" y="4227326"/>
            <a:ext cx="357300" cy="600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000000"/>
            </a:solidFill>
            <a:prstDash val="solid"/>
            <a:round/>
            <a:headEnd type="diamond" w="med" len="med"/>
            <a:tailEnd type="none" w="med" len="med"/>
          </a:ln>
        </p:spPr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17DF7366-E068-41F8-AB72-0CD9277727BA}"/>
              </a:ext>
            </a:extLst>
          </p:cNvPr>
          <p:cNvSpPr/>
          <p:nvPr/>
        </p:nvSpPr>
        <p:spPr>
          <a:xfrm>
            <a:off x="2389596" y="4042392"/>
            <a:ext cx="12184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800" dirty="0">
                <a:solidFill>
                  <a:schemeClr val="accent1"/>
                </a:solidFill>
                <a:highlight>
                  <a:srgbClr val="FFFFFF"/>
                </a:highlight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Период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D6F8F7A-AD25-48C4-9EC6-ED6596BADEE5}"/>
              </a:ext>
            </a:extLst>
          </p:cNvPr>
          <p:cNvSpPr/>
          <p:nvPr/>
        </p:nvSpPr>
        <p:spPr>
          <a:xfrm>
            <a:off x="7109640" y="3856590"/>
            <a:ext cx="1739052" cy="7710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-RU" sz="1200" dirty="0">
                <a:latin typeface="Fira Sans" panose="020B0604020202020204" charset="0"/>
                <a:sym typeface="Roboto"/>
              </a:rPr>
              <a:t>Тестовой группе предлагается в два раза больше баллов лояльности за покупку от 100 рублей</a:t>
            </a:r>
            <a:endParaRPr lang="ru-RU" sz="1200" dirty="0">
              <a:latin typeface="Fira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351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E60B44-D31C-47B7-A9E6-A503A8DD2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103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4E60B44-D31C-47B7-A9E6-A503A8DD2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80" name="Google Shape;2480;p41"/>
          <p:cNvSpPr txBox="1">
            <a:spLocks noGrp="1"/>
          </p:cNvSpPr>
          <p:nvPr>
            <p:ph type="title"/>
          </p:nvPr>
        </p:nvSpPr>
        <p:spPr>
          <a:xfrm>
            <a:off x="457200" y="411475"/>
            <a:ext cx="8229600" cy="33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>
                <a:solidFill>
                  <a:schemeClr val="dk1"/>
                </a:solidFill>
                <a:latin typeface="Fira Sans" panose="020B0604020202020204" charset="0"/>
              </a:rPr>
              <a:t>Разделение клиентов на группы</a:t>
            </a:r>
            <a:endParaRPr dirty="0">
              <a:solidFill>
                <a:schemeClr val="dk1"/>
              </a:solidFill>
              <a:latin typeface="Fira Sans" panose="020B0604020202020204" charset="0"/>
            </a:endParaRPr>
          </a:p>
        </p:txBody>
      </p:sp>
      <p:sp>
        <p:nvSpPr>
          <p:cNvPr id="2481" name="Google Shape;2481;p41"/>
          <p:cNvSpPr/>
          <p:nvPr/>
        </p:nvSpPr>
        <p:spPr>
          <a:xfrm>
            <a:off x="3983100" y="1830450"/>
            <a:ext cx="1177800" cy="11778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82" name="Google Shape;2482;p41"/>
          <p:cNvSpPr/>
          <p:nvPr/>
        </p:nvSpPr>
        <p:spPr>
          <a:xfrm>
            <a:off x="882312" y="1215588"/>
            <a:ext cx="2407500" cy="2407500"/>
          </a:xfrm>
          <a:prstGeom prst="arc">
            <a:avLst>
              <a:gd name="adj1" fmla="val 16200000"/>
              <a:gd name="adj2" fmla="val 16193819"/>
            </a:avLst>
          </a:prstGeom>
          <a:noFill/>
          <a:ln w="1143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83" name="Google Shape;2483;p41"/>
          <p:cNvSpPr/>
          <p:nvPr/>
        </p:nvSpPr>
        <p:spPr>
          <a:xfrm>
            <a:off x="882312" y="1215588"/>
            <a:ext cx="2407500" cy="2407500"/>
          </a:xfrm>
          <a:prstGeom prst="arc">
            <a:avLst>
              <a:gd name="adj1" fmla="val 16213389"/>
              <a:gd name="adj2" fmla="val 5385913"/>
            </a:avLst>
          </a:prstGeom>
          <a:noFill/>
          <a:ln w="2286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84" name="Google Shape;2484;p41"/>
          <p:cNvSpPr txBox="1"/>
          <p:nvPr/>
        </p:nvSpPr>
        <p:spPr>
          <a:xfrm>
            <a:off x="1245669" y="1954637"/>
            <a:ext cx="16899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800" b="1" dirty="0"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1000</a:t>
            </a:r>
            <a:endParaRPr sz="4800"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2486" name="Google Shape;2486;p41"/>
          <p:cNvSpPr txBox="1"/>
          <p:nvPr/>
        </p:nvSpPr>
        <p:spPr>
          <a:xfrm>
            <a:off x="1110327" y="4044878"/>
            <a:ext cx="1895241" cy="2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b="1" dirty="0"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Классическая акция</a:t>
            </a:r>
            <a:endParaRPr sz="1800"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2487" name="Google Shape;2487;p41"/>
          <p:cNvSpPr/>
          <p:nvPr/>
        </p:nvSpPr>
        <p:spPr>
          <a:xfrm>
            <a:off x="5822112" y="1215588"/>
            <a:ext cx="2407500" cy="2407500"/>
          </a:xfrm>
          <a:prstGeom prst="arc">
            <a:avLst>
              <a:gd name="adj1" fmla="val 16200000"/>
              <a:gd name="adj2" fmla="val 16193819"/>
            </a:avLst>
          </a:prstGeom>
          <a:noFill/>
          <a:ln w="1143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88" name="Google Shape;2488;p41"/>
          <p:cNvSpPr/>
          <p:nvPr/>
        </p:nvSpPr>
        <p:spPr>
          <a:xfrm>
            <a:off x="5822112" y="1215588"/>
            <a:ext cx="2407500" cy="2407500"/>
          </a:xfrm>
          <a:prstGeom prst="arc">
            <a:avLst>
              <a:gd name="adj1" fmla="val 5388388"/>
              <a:gd name="adj2" fmla="val 5385913"/>
            </a:avLst>
          </a:prstGeom>
          <a:noFill/>
          <a:ln w="2286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90" name="Google Shape;2490;p41"/>
          <p:cNvSpPr txBox="1"/>
          <p:nvPr/>
        </p:nvSpPr>
        <p:spPr>
          <a:xfrm>
            <a:off x="3727050" y="2054850"/>
            <a:ext cx="1689900" cy="7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800" b="1"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vs</a:t>
            </a:r>
            <a:endParaRPr sz="4800" b="1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2493" name="Google Shape;2493;p41"/>
          <p:cNvSpPr txBox="1"/>
          <p:nvPr/>
        </p:nvSpPr>
        <p:spPr>
          <a:xfrm>
            <a:off x="1166556" y="2785543"/>
            <a:ext cx="1839012" cy="220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ru-RU" dirty="0"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баллов лояльности за покупку от 100 рублей</a:t>
            </a:r>
            <a:endParaRPr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18" name="Google Shape;2484;p41">
            <a:extLst>
              <a:ext uri="{FF2B5EF4-FFF2-40B4-BE49-F238E27FC236}">
                <a16:creationId xmlns:a16="http://schemas.microsoft.com/office/drawing/2014/main" id="{E47EB6D3-C122-42D3-930A-D67E9D3E6F89}"/>
              </a:ext>
            </a:extLst>
          </p:cNvPr>
          <p:cNvSpPr txBox="1"/>
          <p:nvPr/>
        </p:nvSpPr>
        <p:spPr>
          <a:xfrm>
            <a:off x="6180912" y="1954637"/>
            <a:ext cx="16899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800" b="1" dirty="0"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2000</a:t>
            </a:r>
            <a:endParaRPr sz="4800"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19" name="Google Shape;2493;p41">
            <a:extLst>
              <a:ext uri="{FF2B5EF4-FFF2-40B4-BE49-F238E27FC236}">
                <a16:creationId xmlns:a16="http://schemas.microsoft.com/office/drawing/2014/main" id="{0E013541-456C-486F-8010-B6C732D9BAC9}"/>
              </a:ext>
            </a:extLst>
          </p:cNvPr>
          <p:cNvSpPr txBox="1"/>
          <p:nvPr/>
        </p:nvSpPr>
        <p:spPr>
          <a:xfrm>
            <a:off x="6078162" y="2783850"/>
            <a:ext cx="1839012" cy="220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ru-RU" dirty="0"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баллов лояльности за покупку от 100 рублей</a:t>
            </a:r>
            <a:endParaRPr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20" name="Google Shape;2486;p41">
            <a:extLst>
              <a:ext uri="{FF2B5EF4-FFF2-40B4-BE49-F238E27FC236}">
                <a16:creationId xmlns:a16="http://schemas.microsoft.com/office/drawing/2014/main" id="{E0F139B4-E01C-4ABB-A824-589B9B7BCDF3}"/>
              </a:ext>
            </a:extLst>
          </p:cNvPr>
          <p:cNvSpPr txBox="1"/>
          <p:nvPr/>
        </p:nvSpPr>
        <p:spPr>
          <a:xfrm>
            <a:off x="6138432" y="3998551"/>
            <a:ext cx="1895241" cy="22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b="1" dirty="0"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Тестовая акция</a:t>
            </a:r>
            <a:endParaRPr sz="1800"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95516D-C5E5-4ED9-B51F-EBD6EEDB20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1748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95516D-C5E5-4ED9-B51F-EBD6EEDB2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18" name="Google Shape;2318;p37"/>
          <p:cNvSpPr/>
          <p:nvPr/>
        </p:nvSpPr>
        <p:spPr>
          <a:xfrm>
            <a:off x="2723588" y="3011840"/>
            <a:ext cx="683700" cy="6837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19" name="Google Shape;2319;p37"/>
          <p:cNvSpPr txBox="1">
            <a:spLocks noGrp="1"/>
          </p:cNvSpPr>
          <p:nvPr>
            <p:ph type="title"/>
          </p:nvPr>
        </p:nvSpPr>
        <p:spPr>
          <a:xfrm>
            <a:off x="457200" y="411475"/>
            <a:ext cx="8229600" cy="33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>
                <a:solidFill>
                  <a:schemeClr val="dk1"/>
                </a:solidFill>
              </a:rPr>
              <a:t>Структура данных в разрезе торговых точек</a:t>
            </a:r>
            <a:endParaRPr dirty="0">
              <a:solidFill>
                <a:schemeClr val="dk1"/>
              </a:solidFill>
            </a:endParaRPr>
          </a:p>
        </p:txBody>
      </p:sp>
      <p:sp>
        <p:nvSpPr>
          <p:cNvPr id="2320" name="Google Shape;2320;p37"/>
          <p:cNvSpPr txBox="1"/>
          <p:nvPr/>
        </p:nvSpPr>
        <p:spPr>
          <a:xfrm>
            <a:off x="194883" y="1995642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buNone/>
              <a:defRPr sz="18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</a:defRPr>
            </a:lvl1pPr>
          </a:lstStyle>
          <a:p>
            <a:r>
              <a:rPr lang="ru-RU" dirty="0"/>
              <a:t>Торговая точка 11</a:t>
            </a:r>
            <a:r>
              <a:rPr lang="en-US" dirty="0"/>
              <a:t>7</a:t>
            </a:r>
            <a:r>
              <a:rPr lang="ru-RU" dirty="0"/>
              <a:t>8</a:t>
            </a:r>
          </a:p>
        </p:txBody>
      </p:sp>
      <p:sp>
        <p:nvSpPr>
          <p:cNvPr id="2321" name="Google Shape;2321;p37"/>
          <p:cNvSpPr txBox="1"/>
          <p:nvPr/>
        </p:nvSpPr>
        <p:spPr>
          <a:xfrm>
            <a:off x="3761549" y="2003878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ctr">
              <a:buNone/>
              <a:defRPr sz="18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</a:defRPr>
            </a:lvl1pPr>
          </a:lstStyle>
          <a:p>
            <a:r>
              <a:rPr lang="ru-RU" dirty="0"/>
              <a:t>Торговая точка 11</a:t>
            </a:r>
            <a:r>
              <a:rPr lang="en-US" dirty="0"/>
              <a:t>82</a:t>
            </a:r>
            <a:endParaRPr lang="ru-RU" dirty="0"/>
          </a:p>
        </p:txBody>
      </p:sp>
      <p:sp>
        <p:nvSpPr>
          <p:cNvPr id="2322" name="Google Shape;2322;p37"/>
          <p:cNvSpPr txBox="1"/>
          <p:nvPr/>
        </p:nvSpPr>
        <p:spPr>
          <a:xfrm>
            <a:off x="340083" y="2282730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200" dirty="0">
                <a:latin typeface="Roboto" panose="020B0604020202020204" charset="0"/>
              </a:rPr>
              <a:t>control     2403</a:t>
            </a:r>
          </a:p>
          <a:p>
            <a:pPr algn="ctr"/>
            <a:r>
              <a:rPr lang="en-US" sz="1200" dirty="0">
                <a:latin typeface="Roboto" panose="020B0604020202020204" charset="0"/>
              </a:rPr>
              <a:t>test          2400</a:t>
            </a:r>
          </a:p>
        </p:txBody>
      </p:sp>
      <p:sp>
        <p:nvSpPr>
          <p:cNvPr id="2323" name="Google Shape;2323;p37"/>
          <p:cNvSpPr txBox="1"/>
          <p:nvPr/>
        </p:nvSpPr>
        <p:spPr>
          <a:xfrm>
            <a:off x="3906749" y="2290978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>
              <a:lnSpc>
                <a:spcPct val="115000"/>
              </a:lnSpc>
            </a:pPr>
            <a:r>
              <a:rPr lang="en-US" sz="120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ontrol     1023</a:t>
            </a:r>
          </a:p>
          <a:p>
            <a:pPr lvl="0" algn="ctr">
              <a:lnSpc>
                <a:spcPct val="115000"/>
              </a:lnSpc>
            </a:pPr>
            <a:r>
              <a:rPr lang="en-US" sz="120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est         987</a:t>
            </a:r>
          </a:p>
        </p:txBody>
      </p:sp>
      <p:sp>
        <p:nvSpPr>
          <p:cNvPr id="2326" name="Google Shape;2326;p37"/>
          <p:cNvSpPr txBox="1"/>
          <p:nvPr/>
        </p:nvSpPr>
        <p:spPr>
          <a:xfrm>
            <a:off x="2049700" y="2003878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ctr">
              <a:buNone/>
              <a:defRPr sz="18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</a:defRPr>
            </a:lvl1pPr>
          </a:lstStyle>
          <a:p>
            <a:r>
              <a:rPr lang="ru-RU" dirty="0"/>
              <a:t>Торговая точка 11</a:t>
            </a:r>
            <a:r>
              <a:rPr lang="en-US" dirty="0"/>
              <a:t>79</a:t>
            </a:r>
            <a:endParaRPr lang="ru-RU" dirty="0"/>
          </a:p>
        </p:txBody>
      </p:sp>
      <p:sp>
        <p:nvSpPr>
          <p:cNvPr id="2327" name="Google Shape;2327;p37"/>
          <p:cNvSpPr txBox="1"/>
          <p:nvPr/>
        </p:nvSpPr>
        <p:spPr>
          <a:xfrm>
            <a:off x="2194906" y="2290978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US" sz="1200" dirty="0">
                <a:latin typeface="Roboto" panose="020B0604020202020204" charset="0"/>
              </a:rPr>
              <a:t>control     1716</a:t>
            </a:r>
          </a:p>
          <a:p>
            <a:pPr algn="ctr"/>
            <a:r>
              <a:rPr lang="en-US" sz="1200" dirty="0">
                <a:latin typeface="Roboto" panose="020B0604020202020204" charset="0"/>
              </a:rPr>
              <a:t>test          1755</a:t>
            </a:r>
          </a:p>
        </p:txBody>
      </p:sp>
      <p:sp>
        <p:nvSpPr>
          <p:cNvPr id="2329" name="Google Shape;2329;p37"/>
          <p:cNvSpPr txBox="1"/>
          <p:nvPr/>
        </p:nvSpPr>
        <p:spPr>
          <a:xfrm>
            <a:off x="188360" y="4020196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>
              <a:buClr>
                <a:schemeClr val="dk1"/>
              </a:buClr>
              <a:buSzPts val="1100"/>
            </a:pPr>
            <a:r>
              <a:rPr lang="ru-RU" sz="1800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Торговая точка 1199</a:t>
            </a:r>
          </a:p>
        </p:txBody>
      </p:sp>
      <p:sp>
        <p:nvSpPr>
          <p:cNvPr id="2330" name="Google Shape;2330;p37"/>
          <p:cNvSpPr txBox="1"/>
          <p:nvPr/>
        </p:nvSpPr>
        <p:spPr>
          <a:xfrm>
            <a:off x="2215353" y="4315519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>
              <a:lnSpc>
                <a:spcPct val="115000"/>
              </a:lnSpc>
            </a:pPr>
            <a:r>
              <a:rPr lang="en-US" sz="1200" dirty="0">
                <a:latin typeface="Roboto"/>
                <a:ea typeface="Roboto"/>
                <a:cs typeface="Roboto"/>
                <a:sym typeface="Roboto"/>
              </a:rPr>
              <a:t>control     23</a:t>
            </a:r>
          </a:p>
          <a:p>
            <a:pPr lvl="0" algn="ctr">
              <a:lnSpc>
                <a:spcPct val="115000"/>
              </a:lnSpc>
            </a:pPr>
            <a:r>
              <a:rPr lang="en-US" sz="1200" dirty="0">
                <a:latin typeface="Roboto"/>
                <a:ea typeface="Roboto"/>
                <a:cs typeface="Roboto"/>
                <a:sym typeface="Roboto"/>
              </a:rPr>
              <a:t>test          40</a:t>
            </a:r>
          </a:p>
        </p:txBody>
      </p:sp>
      <p:sp>
        <p:nvSpPr>
          <p:cNvPr id="2332" name="Google Shape;2332;p37"/>
          <p:cNvSpPr txBox="1"/>
          <p:nvPr/>
        </p:nvSpPr>
        <p:spPr>
          <a:xfrm>
            <a:off x="3781996" y="4028419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buClr>
                <a:schemeClr val="dk1"/>
              </a:buClr>
              <a:buSzPts val="1100"/>
              <a:defRPr sz="1800" b="1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</a:defRPr>
            </a:lvl1pPr>
          </a:lstStyle>
          <a:p>
            <a:r>
              <a:rPr lang="ru-RU" dirty="0">
                <a:sym typeface="Fira Sans Extra Condensed"/>
              </a:rPr>
              <a:t>Торговая точка 118</a:t>
            </a:r>
            <a:r>
              <a:rPr lang="en-US" dirty="0">
                <a:sym typeface="Fira Sans Extra Condensed"/>
              </a:rPr>
              <a:t>8</a:t>
            </a:r>
            <a:endParaRPr lang="ru-RU" dirty="0">
              <a:sym typeface="Fira Sans Extra Condensed"/>
            </a:endParaRPr>
          </a:p>
        </p:txBody>
      </p:sp>
      <p:sp>
        <p:nvSpPr>
          <p:cNvPr id="2333" name="Google Shape;2333;p37"/>
          <p:cNvSpPr txBox="1"/>
          <p:nvPr/>
        </p:nvSpPr>
        <p:spPr>
          <a:xfrm>
            <a:off x="3927196" y="4315519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>
              <a:lnSpc>
                <a:spcPct val="115000"/>
              </a:lnSpc>
            </a:pPr>
            <a:r>
              <a:rPr lang="en-US" sz="1200" dirty="0">
                <a:latin typeface="Roboto"/>
                <a:ea typeface="Roboto"/>
                <a:cs typeface="Roboto"/>
                <a:sym typeface="Roboto"/>
              </a:rPr>
              <a:t>control      6</a:t>
            </a:r>
          </a:p>
          <a:p>
            <a:pPr lvl="0" algn="ctr">
              <a:lnSpc>
                <a:spcPct val="115000"/>
              </a:lnSpc>
            </a:pPr>
            <a:r>
              <a:rPr lang="en-US" sz="1200" dirty="0">
                <a:latin typeface="Roboto"/>
                <a:ea typeface="Roboto"/>
                <a:cs typeface="Roboto"/>
                <a:sym typeface="Roboto"/>
              </a:rPr>
              <a:t>test           4</a:t>
            </a:r>
          </a:p>
        </p:txBody>
      </p:sp>
      <p:grpSp>
        <p:nvGrpSpPr>
          <p:cNvPr id="2335" name="Google Shape;2335;p37"/>
          <p:cNvGrpSpPr/>
          <p:nvPr/>
        </p:nvGrpSpPr>
        <p:grpSpPr>
          <a:xfrm>
            <a:off x="2890650" y="3201702"/>
            <a:ext cx="339306" cy="251698"/>
            <a:chOff x="2678275" y="2090100"/>
            <a:chExt cx="481900" cy="357475"/>
          </a:xfrm>
        </p:grpSpPr>
        <p:sp>
          <p:nvSpPr>
            <p:cNvPr id="2336" name="Google Shape;2336;p37"/>
            <p:cNvSpPr/>
            <p:nvPr/>
          </p:nvSpPr>
          <p:spPr>
            <a:xfrm>
              <a:off x="289945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93" y="1"/>
                  </a:moveTo>
                  <a:cubicBezTo>
                    <a:pt x="356" y="1"/>
                    <a:pt x="1" y="353"/>
                    <a:pt x="1" y="790"/>
                  </a:cubicBezTo>
                  <a:cubicBezTo>
                    <a:pt x="1" y="1226"/>
                    <a:pt x="356" y="1581"/>
                    <a:pt x="793" y="1581"/>
                  </a:cubicBezTo>
                  <a:cubicBezTo>
                    <a:pt x="1227" y="1581"/>
                    <a:pt x="1582" y="1226"/>
                    <a:pt x="1582" y="790"/>
                  </a:cubicBezTo>
                  <a:cubicBezTo>
                    <a:pt x="1582" y="353"/>
                    <a:pt x="1227" y="1"/>
                    <a:pt x="7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37" name="Google Shape;2337;p37"/>
            <p:cNvSpPr/>
            <p:nvPr/>
          </p:nvSpPr>
          <p:spPr>
            <a:xfrm>
              <a:off x="309240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90" y="1"/>
                  </a:moveTo>
                  <a:cubicBezTo>
                    <a:pt x="353" y="1"/>
                    <a:pt x="1" y="353"/>
                    <a:pt x="1" y="790"/>
                  </a:cubicBezTo>
                  <a:cubicBezTo>
                    <a:pt x="1" y="1226"/>
                    <a:pt x="353" y="1581"/>
                    <a:pt x="790" y="1581"/>
                  </a:cubicBezTo>
                  <a:cubicBezTo>
                    <a:pt x="1226" y="1581"/>
                    <a:pt x="1582" y="1226"/>
                    <a:pt x="1582" y="790"/>
                  </a:cubicBezTo>
                  <a:cubicBezTo>
                    <a:pt x="1582" y="353"/>
                    <a:pt x="1226" y="1"/>
                    <a:pt x="79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38" name="Google Shape;2338;p37"/>
            <p:cNvSpPr/>
            <p:nvPr/>
          </p:nvSpPr>
          <p:spPr>
            <a:xfrm>
              <a:off x="2678350" y="2389425"/>
              <a:ext cx="481825" cy="58150"/>
            </a:xfrm>
            <a:custGeom>
              <a:avLst/>
              <a:gdLst/>
              <a:ahLst/>
              <a:cxnLst/>
              <a:rect l="l" t="t" r="r" b="b"/>
              <a:pathLst>
                <a:path w="19273" h="2326" extrusionOk="0">
                  <a:moveTo>
                    <a:pt x="1" y="1"/>
                  </a:moveTo>
                  <a:lnTo>
                    <a:pt x="1" y="1759"/>
                  </a:lnTo>
                  <a:cubicBezTo>
                    <a:pt x="1" y="2072"/>
                    <a:pt x="251" y="2325"/>
                    <a:pt x="564" y="2325"/>
                  </a:cubicBezTo>
                  <a:lnTo>
                    <a:pt x="18707" y="2325"/>
                  </a:lnTo>
                  <a:cubicBezTo>
                    <a:pt x="19020" y="2325"/>
                    <a:pt x="19273" y="2072"/>
                    <a:pt x="19273" y="1759"/>
                  </a:cubicBezTo>
                  <a:lnTo>
                    <a:pt x="1927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39" name="Google Shape;2339;p37"/>
            <p:cNvSpPr/>
            <p:nvPr/>
          </p:nvSpPr>
          <p:spPr>
            <a:xfrm>
              <a:off x="270660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89" y="1"/>
                  </a:moveTo>
                  <a:cubicBezTo>
                    <a:pt x="352" y="1"/>
                    <a:pt x="0" y="353"/>
                    <a:pt x="0" y="790"/>
                  </a:cubicBezTo>
                  <a:cubicBezTo>
                    <a:pt x="0" y="1226"/>
                    <a:pt x="352" y="1581"/>
                    <a:pt x="789" y="1581"/>
                  </a:cubicBezTo>
                  <a:cubicBezTo>
                    <a:pt x="1226" y="1581"/>
                    <a:pt x="1581" y="1226"/>
                    <a:pt x="1581" y="790"/>
                  </a:cubicBezTo>
                  <a:cubicBezTo>
                    <a:pt x="1581" y="353"/>
                    <a:pt x="1226" y="1"/>
                    <a:pt x="78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40" name="Google Shape;2340;p37"/>
            <p:cNvSpPr/>
            <p:nvPr/>
          </p:nvSpPr>
          <p:spPr>
            <a:xfrm>
              <a:off x="2678275" y="2090100"/>
              <a:ext cx="481900" cy="271125"/>
            </a:xfrm>
            <a:custGeom>
              <a:avLst/>
              <a:gdLst/>
              <a:ahLst/>
              <a:cxnLst/>
              <a:rect l="l" t="t" r="r" b="b"/>
              <a:pathLst>
                <a:path w="19276" h="10845" extrusionOk="0">
                  <a:moveTo>
                    <a:pt x="9638" y="5229"/>
                  </a:moveTo>
                  <a:cubicBezTo>
                    <a:pt x="9885" y="5229"/>
                    <a:pt x="10134" y="5277"/>
                    <a:pt x="10372" y="5376"/>
                  </a:cubicBezTo>
                  <a:cubicBezTo>
                    <a:pt x="11091" y="5674"/>
                    <a:pt x="11558" y="6373"/>
                    <a:pt x="11558" y="7150"/>
                  </a:cubicBezTo>
                  <a:cubicBezTo>
                    <a:pt x="11558" y="8209"/>
                    <a:pt x="10697" y="9068"/>
                    <a:pt x="9640" y="9071"/>
                  </a:cubicBezTo>
                  <a:cubicBezTo>
                    <a:pt x="8863" y="9071"/>
                    <a:pt x="8161" y="8601"/>
                    <a:pt x="7866" y="7884"/>
                  </a:cubicBezTo>
                  <a:cubicBezTo>
                    <a:pt x="7568" y="7168"/>
                    <a:pt x="7731" y="6343"/>
                    <a:pt x="8282" y="5791"/>
                  </a:cubicBezTo>
                  <a:cubicBezTo>
                    <a:pt x="8648" y="5425"/>
                    <a:pt x="9139" y="5229"/>
                    <a:pt x="9638" y="5229"/>
                  </a:cubicBezTo>
                  <a:close/>
                  <a:moveTo>
                    <a:pt x="571" y="1"/>
                  </a:moveTo>
                  <a:cubicBezTo>
                    <a:pt x="281" y="1"/>
                    <a:pt x="3" y="226"/>
                    <a:pt x="1" y="567"/>
                  </a:cubicBezTo>
                  <a:lnTo>
                    <a:pt x="1" y="7150"/>
                  </a:lnTo>
                  <a:cubicBezTo>
                    <a:pt x="1" y="6373"/>
                    <a:pt x="471" y="5674"/>
                    <a:pt x="1187" y="5376"/>
                  </a:cubicBezTo>
                  <a:cubicBezTo>
                    <a:pt x="1425" y="5277"/>
                    <a:pt x="1674" y="5229"/>
                    <a:pt x="1921" y="5229"/>
                  </a:cubicBezTo>
                  <a:cubicBezTo>
                    <a:pt x="2420" y="5229"/>
                    <a:pt x="2912" y="5425"/>
                    <a:pt x="3280" y="5791"/>
                  </a:cubicBezTo>
                  <a:cubicBezTo>
                    <a:pt x="3828" y="6343"/>
                    <a:pt x="3994" y="7168"/>
                    <a:pt x="3696" y="7884"/>
                  </a:cubicBezTo>
                  <a:cubicBezTo>
                    <a:pt x="3398" y="8601"/>
                    <a:pt x="2699" y="9071"/>
                    <a:pt x="1922" y="9071"/>
                  </a:cubicBezTo>
                  <a:cubicBezTo>
                    <a:pt x="862" y="9068"/>
                    <a:pt x="4" y="8209"/>
                    <a:pt x="1" y="7150"/>
                  </a:cubicBezTo>
                  <a:lnTo>
                    <a:pt x="1" y="10844"/>
                  </a:lnTo>
                  <a:lnTo>
                    <a:pt x="19276" y="10844"/>
                  </a:lnTo>
                  <a:lnTo>
                    <a:pt x="19276" y="7150"/>
                  </a:lnTo>
                  <a:cubicBezTo>
                    <a:pt x="19276" y="7926"/>
                    <a:pt x="18806" y="8625"/>
                    <a:pt x="18089" y="8923"/>
                  </a:cubicBezTo>
                  <a:cubicBezTo>
                    <a:pt x="17852" y="9022"/>
                    <a:pt x="17603" y="9070"/>
                    <a:pt x="17356" y="9070"/>
                  </a:cubicBezTo>
                  <a:cubicBezTo>
                    <a:pt x="16857" y="9070"/>
                    <a:pt x="16365" y="8874"/>
                    <a:pt x="15997" y="8508"/>
                  </a:cubicBezTo>
                  <a:cubicBezTo>
                    <a:pt x="15449" y="7957"/>
                    <a:pt x="15283" y="7131"/>
                    <a:pt x="15581" y="6415"/>
                  </a:cubicBezTo>
                  <a:cubicBezTo>
                    <a:pt x="15879" y="5698"/>
                    <a:pt x="16578" y="5231"/>
                    <a:pt x="17355" y="5231"/>
                  </a:cubicBezTo>
                  <a:cubicBezTo>
                    <a:pt x="18415" y="5231"/>
                    <a:pt x="19273" y="6090"/>
                    <a:pt x="19276" y="7150"/>
                  </a:cubicBezTo>
                  <a:lnTo>
                    <a:pt x="19276" y="567"/>
                  </a:lnTo>
                  <a:cubicBezTo>
                    <a:pt x="19276" y="341"/>
                    <a:pt x="19137" y="133"/>
                    <a:pt x="18927" y="46"/>
                  </a:cubicBezTo>
                  <a:cubicBezTo>
                    <a:pt x="18857" y="17"/>
                    <a:pt x="18783" y="2"/>
                    <a:pt x="18709" y="2"/>
                  </a:cubicBezTo>
                  <a:cubicBezTo>
                    <a:pt x="18564" y="2"/>
                    <a:pt x="18420" y="58"/>
                    <a:pt x="18312" y="166"/>
                  </a:cubicBezTo>
                  <a:lnTo>
                    <a:pt x="14783" y="3641"/>
                  </a:lnTo>
                  <a:lnTo>
                    <a:pt x="9971" y="112"/>
                  </a:lnTo>
                  <a:cubicBezTo>
                    <a:pt x="9871" y="38"/>
                    <a:pt x="9754" y="1"/>
                    <a:pt x="9636" y="1"/>
                  </a:cubicBezTo>
                  <a:cubicBezTo>
                    <a:pt x="9517" y="1"/>
                    <a:pt x="9397" y="39"/>
                    <a:pt x="9297" y="115"/>
                  </a:cubicBezTo>
                  <a:lnTo>
                    <a:pt x="4656" y="3641"/>
                  </a:lnTo>
                  <a:lnTo>
                    <a:pt x="952" y="154"/>
                  </a:lnTo>
                  <a:cubicBezTo>
                    <a:pt x="840" y="48"/>
                    <a:pt x="704" y="1"/>
                    <a:pt x="57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sp>
        <p:nvSpPr>
          <p:cNvPr id="2341" name="Google Shape;2341;p37"/>
          <p:cNvSpPr/>
          <p:nvPr/>
        </p:nvSpPr>
        <p:spPr>
          <a:xfrm>
            <a:off x="4430284" y="3000484"/>
            <a:ext cx="683700" cy="6837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42" name="Google Shape;2342;p37"/>
          <p:cNvGrpSpPr/>
          <p:nvPr/>
        </p:nvGrpSpPr>
        <p:grpSpPr>
          <a:xfrm>
            <a:off x="4612144" y="3132446"/>
            <a:ext cx="319874" cy="419623"/>
            <a:chOff x="-3365275" y="3253275"/>
            <a:chExt cx="222150" cy="291425"/>
          </a:xfrm>
        </p:grpSpPr>
        <p:sp>
          <p:nvSpPr>
            <p:cNvPr id="2343" name="Google Shape;2343;p37"/>
            <p:cNvSpPr/>
            <p:nvPr/>
          </p:nvSpPr>
          <p:spPr>
            <a:xfrm>
              <a:off x="-3365275" y="3253275"/>
              <a:ext cx="222150" cy="291425"/>
            </a:xfrm>
            <a:custGeom>
              <a:avLst/>
              <a:gdLst/>
              <a:ahLst/>
              <a:cxnLst/>
              <a:rect l="l" t="t" r="r" b="b"/>
              <a:pathLst>
                <a:path w="8886" h="11657" extrusionOk="0">
                  <a:moveTo>
                    <a:pt x="5861" y="662"/>
                  </a:moveTo>
                  <a:cubicBezTo>
                    <a:pt x="6302" y="662"/>
                    <a:pt x="6302" y="1323"/>
                    <a:pt x="5861" y="1323"/>
                  </a:cubicBezTo>
                  <a:lnTo>
                    <a:pt x="3120" y="1323"/>
                  </a:lnTo>
                  <a:cubicBezTo>
                    <a:pt x="2647" y="1323"/>
                    <a:pt x="2647" y="662"/>
                    <a:pt x="3120" y="662"/>
                  </a:cubicBezTo>
                  <a:close/>
                  <a:moveTo>
                    <a:pt x="7215" y="3466"/>
                  </a:moveTo>
                  <a:cubicBezTo>
                    <a:pt x="7625" y="3466"/>
                    <a:pt x="7625" y="4127"/>
                    <a:pt x="7215" y="4127"/>
                  </a:cubicBezTo>
                  <a:lnTo>
                    <a:pt x="4443" y="4127"/>
                  </a:lnTo>
                  <a:cubicBezTo>
                    <a:pt x="4002" y="4127"/>
                    <a:pt x="3970" y="3466"/>
                    <a:pt x="4443" y="3466"/>
                  </a:cubicBezTo>
                  <a:close/>
                  <a:moveTo>
                    <a:pt x="3101" y="2795"/>
                  </a:moveTo>
                  <a:cubicBezTo>
                    <a:pt x="3360" y="2795"/>
                    <a:pt x="3582" y="3129"/>
                    <a:pt x="3340" y="3371"/>
                  </a:cubicBezTo>
                  <a:lnTo>
                    <a:pt x="2899" y="3812"/>
                  </a:lnTo>
                  <a:lnTo>
                    <a:pt x="3340" y="4253"/>
                  </a:lnTo>
                  <a:cubicBezTo>
                    <a:pt x="3582" y="4495"/>
                    <a:pt x="3360" y="4830"/>
                    <a:pt x="3101" y="4830"/>
                  </a:cubicBezTo>
                  <a:cubicBezTo>
                    <a:pt x="3023" y="4830"/>
                    <a:pt x="2941" y="4799"/>
                    <a:pt x="2868" y="4726"/>
                  </a:cubicBezTo>
                  <a:lnTo>
                    <a:pt x="2427" y="4285"/>
                  </a:lnTo>
                  <a:lnTo>
                    <a:pt x="2017" y="4726"/>
                  </a:lnTo>
                  <a:cubicBezTo>
                    <a:pt x="1944" y="4799"/>
                    <a:pt x="1862" y="4830"/>
                    <a:pt x="1784" y="4830"/>
                  </a:cubicBezTo>
                  <a:cubicBezTo>
                    <a:pt x="1525" y="4830"/>
                    <a:pt x="1303" y="4495"/>
                    <a:pt x="1545" y="4253"/>
                  </a:cubicBezTo>
                  <a:lnTo>
                    <a:pt x="1954" y="3812"/>
                  </a:lnTo>
                  <a:lnTo>
                    <a:pt x="1545" y="3371"/>
                  </a:lnTo>
                  <a:cubicBezTo>
                    <a:pt x="1303" y="3129"/>
                    <a:pt x="1525" y="2795"/>
                    <a:pt x="1784" y="2795"/>
                  </a:cubicBezTo>
                  <a:cubicBezTo>
                    <a:pt x="1862" y="2795"/>
                    <a:pt x="1944" y="2825"/>
                    <a:pt x="2017" y="2899"/>
                  </a:cubicBezTo>
                  <a:lnTo>
                    <a:pt x="2427" y="3340"/>
                  </a:lnTo>
                  <a:lnTo>
                    <a:pt x="2868" y="2899"/>
                  </a:lnTo>
                  <a:cubicBezTo>
                    <a:pt x="2941" y="2825"/>
                    <a:pt x="3023" y="2795"/>
                    <a:pt x="3101" y="2795"/>
                  </a:cubicBezTo>
                  <a:close/>
                  <a:moveTo>
                    <a:pt x="7242" y="6206"/>
                  </a:moveTo>
                  <a:cubicBezTo>
                    <a:pt x="7625" y="6206"/>
                    <a:pt x="7616" y="6868"/>
                    <a:pt x="7215" y="6868"/>
                  </a:cubicBezTo>
                  <a:lnTo>
                    <a:pt x="4443" y="6868"/>
                  </a:lnTo>
                  <a:cubicBezTo>
                    <a:pt x="4002" y="6868"/>
                    <a:pt x="3970" y="6207"/>
                    <a:pt x="4443" y="6207"/>
                  </a:cubicBezTo>
                  <a:lnTo>
                    <a:pt x="7215" y="6207"/>
                  </a:lnTo>
                  <a:cubicBezTo>
                    <a:pt x="7225" y="6206"/>
                    <a:pt x="7233" y="6206"/>
                    <a:pt x="7242" y="6206"/>
                  </a:cubicBezTo>
                  <a:close/>
                  <a:moveTo>
                    <a:pt x="3101" y="5504"/>
                  </a:moveTo>
                  <a:cubicBezTo>
                    <a:pt x="3360" y="5504"/>
                    <a:pt x="3582" y="5839"/>
                    <a:pt x="3340" y="6081"/>
                  </a:cubicBezTo>
                  <a:lnTo>
                    <a:pt x="2899" y="6522"/>
                  </a:lnTo>
                  <a:lnTo>
                    <a:pt x="3340" y="6963"/>
                  </a:lnTo>
                  <a:cubicBezTo>
                    <a:pt x="3582" y="7205"/>
                    <a:pt x="3360" y="7539"/>
                    <a:pt x="3101" y="7539"/>
                  </a:cubicBezTo>
                  <a:cubicBezTo>
                    <a:pt x="3023" y="7539"/>
                    <a:pt x="2941" y="7509"/>
                    <a:pt x="2868" y="7435"/>
                  </a:cubicBezTo>
                  <a:lnTo>
                    <a:pt x="2427" y="6994"/>
                  </a:lnTo>
                  <a:lnTo>
                    <a:pt x="2017" y="7435"/>
                  </a:lnTo>
                  <a:cubicBezTo>
                    <a:pt x="1944" y="7509"/>
                    <a:pt x="1862" y="7539"/>
                    <a:pt x="1784" y="7539"/>
                  </a:cubicBezTo>
                  <a:cubicBezTo>
                    <a:pt x="1525" y="7539"/>
                    <a:pt x="1303" y="7205"/>
                    <a:pt x="1545" y="6963"/>
                  </a:cubicBezTo>
                  <a:lnTo>
                    <a:pt x="1954" y="6522"/>
                  </a:lnTo>
                  <a:lnTo>
                    <a:pt x="1545" y="6081"/>
                  </a:lnTo>
                  <a:cubicBezTo>
                    <a:pt x="1303" y="5839"/>
                    <a:pt x="1525" y="5504"/>
                    <a:pt x="1784" y="5504"/>
                  </a:cubicBezTo>
                  <a:cubicBezTo>
                    <a:pt x="1862" y="5504"/>
                    <a:pt x="1944" y="5535"/>
                    <a:pt x="2017" y="5608"/>
                  </a:cubicBezTo>
                  <a:lnTo>
                    <a:pt x="2427" y="6049"/>
                  </a:lnTo>
                  <a:lnTo>
                    <a:pt x="2868" y="5608"/>
                  </a:lnTo>
                  <a:cubicBezTo>
                    <a:pt x="2941" y="5535"/>
                    <a:pt x="3023" y="5504"/>
                    <a:pt x="3101" y="5504"/>
                  </a:cubicBezTo>
                  <a:close/>
                  <a:moveTo>
                    <a:pt x="7215" y="8916"/>
                  </a:moveTo>
                  <a:cubicBezTo>
                    <a:pt x="7625" y="8916"/>
                    <a:pt x="7625" y="9609"/>
                    <a:pt x="7215" y="9609"/>
                  </a:cubicBezTo>
                  <a:lnTo>
                    <a:pt x="4443" y="9609"/>
                  </a:lnTo>
                  <a:cubicBezTo>
                    <a:pt x="4002" y="9609"/>
                    <a:pt x="3970" y="8916"/>
                    <a:pt x="4443" y="8916"/>
                  </a:cubicBezTo>
                  <a:close/>
                  <a:moveTo>
                    <a:pt x="2395" y="8254"/>
                  </a:moveTo>
                  <a:cubicBezTo>
                    <a:pt x="2962" y="8254"/>
                    <a:pt x="3435" y="8727"/>
                    <a:pt x="3435" y="9263"/>
                  </a:cubicBezTo>
                  <a:cubicBezTo>
                    <a:pt x="3435" y="9830"/>
                    <a:pt x="2994" y="10302"/>
                    <a:pt x="2395" y="10302"/>
                  </a:cubicBezTo>
                  <a:cubicBezTo>
                    <a:pt x="1860" y="10302"/>
                    <a:pt x="1387" y="9830"/>
                    <a:pt x="1387" y="9263"/>
                  </a:cubicBezTo>
                  <a:cubicBezTo>
                    <a:pt x="1387" y="8727"/>
                    <a:pt x="1860" y="8254"/>
                    <a:pt x="2395" y="8254"/>
                  </a:cubicBezTo>
                  <a:close/>
                  <a:moveTo>
                    <a:pt x="3057" y="0"/>
                  </a:moveTo>
                  <a:cubicBezTo>
                    <a:pt x="2647" y="0"/>
                    <a:pt x="2238" y="252"/>
                    <a:pt x="2112" y="662"/>
                  </a:cubicBezTo>
                  <a:lnTo>
                    <a:pt x="1009" y="662"/>
                  </a:lnTo>
                  <a:cubicBezTo>
                    <a:pt x="473" y="662"/>
                    <a:pt x="1" y="1134"/>
                    <a:pt x="1" y="1670"/>
                  </a:cubicBezTo>
                  <a:lnTo>
                    <a:pt x="1" y="10617"/>
                  </a:lnTo>
                  <a:cubicBezTo>
                    <a:pt x="1" y="11153"/>
                    <a:pt x="473" y="11657"/>
                    <a:pt x="1009" y="11657"/>
                  </a:cubicBezTo>
                  <a:lnTo>
                    <a:pt x="7877" y="11657"/>
                  </a:lnTo>
                  <a:cubicBezTo>
                    <a:pt x="8413" y="11657"/>
                    <a:pt x="8885" y="11184"/>
                    <a:pt x="8885" y="10617"/>
                  </a:cubicBezTo>
                  <a:lnTo>
                    <a:pt x="8885" y="1670"/>
                  </a:lnTo>
                  <a:cubicBezTo>
                    <a:pt x="8885" y="1134"/>
                    <a:pt x="8476" y="662"/>
                    <a:pt x="7877" y="662"/>
                  </a:cubicBezTo>
                  <a:lnTo>
                    <a:pt x="6774" y="662"/>
                  </a:lnTo>
                  <a:cubicBezTo>
                    <a:pt x="6617" y="252"/>
                    <a:pt x="6270" y="0"/>
                    <a:pt x="582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4" name="Google Shape;2344;p37"/>
            <p:cNvSpPr/>
            <p:nvPr/>
          </p:nvSpPr>
          <p:spPr>
            <a:xfrm>
              <a:off x="-3314075" y="3476175"/>
              <a:ext cx="17350" cy="18125"/>
            </a:xfrm>
            <a:custGeom>
              <a:avLst/>
              <a:gdLst/>
              <a:ahLst/>
              <a:cxnLst/>
              <a:rect l="l" t="t" r="r" b="b"/>
              <a:pathLst>
                <a:path w="694" h="725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67"/>
                    <a:pt x="158" y="725"/>
                    <a:pt x="347" y="725"/>
                  </a:cubicBezTo>
                  <a:cubicBezTo>
                    <a:pt x="536" y="725"/>
                    <a:pt x="694" y="567"/>
                    <a:pt x="694" y="347"/>
                  </a:cubicBez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45" name="Google Shape;2345;p37"/>
          <p:cNvSpPr/>
          <p:nvPr/>
        </p:nvSpPr>
        <p:spPr>
          <a:xfrm>
            <a:off x="843183" y="1020470"/>
            <a:ext cx="683700" cy="6837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46" name="Google Shape;2346;p37"/>
          <p:cNvSpPr/>
          <p:nvPr/>
        </p:nvSpPr>
        <p:spPr>
          <a:xfrm>
            <a:off x="2698006" y="1028693"/>
            <a:ext cx="683700" cy="683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47" name="Google Shape;2347;p37"/>
          <p:cNvSpPr/>
          <p:nvPr/>
        </p:nvSpPr>
        <p:spPr>
          <a:xfrm>
            <a:off x="4409849" y="1028693"/>
            <a:ext cx="683700" cy="6837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348" name="Google Shape;2348;p37"/>
          <p:cNvGrpSpPr/>
          <p:nvPr/>
        </p:nvGrpSpPr>
        <p:grpSpPr>
          <a:xfrm>
            <a:off x="1002384" y="1192678"/>
            <a:ext cx="342580" cy="339271"/>
            <a:chOff x="5049725" y="1435050"/>
            <a:chExt cx="486550" cy="481850"/>
          </a:xfrm>
        </p:grpSpPr>
        <p:sp>
          <p:nvSpPr>
            <p:cNvPr id="2349" name="Google Shape;2349;p37"/>
            <p:cNvSpPr/>
            <p:nvPr/>
          </p:nvSpPr>
          <p:spPr>
            <a:xfrm>
              <a:off x="5136300" y="1519775"/>
              <a:ext cx="310550" cy="310550"/>
            </a:xfrm>
            <a:custGeom>
              <a:avLst/>
              <a:gdLst/>
              <a:ahLst/>
              <a:cxnLst/>
              <a:rect l="l" t="t" r="r" b="b"/>
              <a:pathLst>
                <a:path w="12422" h="12422" extrusionOk="0">
                  <a:moveTo>
                    <a:pt x="6209" y="1"/>
                  </a:moveTo>
                  <a:cubicBezTo>
                    <a:pt x="2786" y="1"/>
                    <a:pt x="0" y="2786"/>
                    <a:pt x="0" y="6213"/>
                  </a:cubicBezTo>
                  <a:cubicBezTo>
                    <a:pt x="0" y="9637"/>
                    <a:pt x="2786" y="12422"/>
                    <a:pt x="6209" y="12422"/>
                  </a:cubicBezTo>
                  <a:cubicBezTo>
                    <a:pt x="9636" y="12422"/>
                    <a:pt x="12422" y="9637"/>
                    <a:pt x="12422" y="6213"/>
                  </a:cubicBezTo>
                  <a:cubicBezTo>
                    <a:pt x="12422" y="5219"/>
                    <a:pt x="12160" y="4258"/>
                    <a:pt x="11711" y="3388"/>
                  </a:cubicBezTo>
                  <a:lnTo>
                    <a:pt x="11428" y="3388"/>
                  </a:lnTo>
                  <a:lnTo>
                    <a:pt x="10780" y="4036"/>
                  </a:lnTo>
                  <a:cubicBezTo>
                    <a:pt x="11112" y="4713"/>
                    <a:pt x="11286" y="5457"/>
                    <a:pt x="11292" y="6213"/>
                  </a:cubicBezTo>
                  <a:cubicBezTo>
                    <a:pt x="11292" y="9013"/>
                    <a:pt x="9010" y="11293"/>
                    <a:pt x="6209" y="11293"/>
                  </a:cubicBezTo>
                  <a:cubicBezTo>
                    <a:pt x="3409" y="11293"/>
                    <a:pt x="1129" y="9013"/>
                    <a:pt x="1129" y="6213"/>
                  </a:cubicBezTo>
                  <a:cubicBezTo>
                    <a:pt x="1129" y="3409"/>
                    <a:pt x="3409" y="1130"/>
                    <a:pt x="6209" y="1130"/>
                  </a:cubicBezTo>
                  <a:cubicBezTo>
                    <a:pt x="6965" y="1133"/>
                    <a:pt x="7709" y="1307"/>
                    <a:pt x="8387" y="1639"/>
                  </a:cubicBezTo>
                  <a:lnTo>
                    <a:pt x="9034" y="994"/>
                  </a:lnTo>
                  <a:lnTo>
                    <a:pt x="9034" y="708"/>
                  </a:lnTo>
                  <a:cubicBezTo>
                    <a:pt x="8164" y="260"/>
                    <a:pt x="7203" y="1"/>
                    <a:pt x="620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0" name="Google Shape;2350;p37"/>
            <p:cNvSpPr/>
            <p:nvPr/>
          </p:nvSpPr>
          <p:spPr>
            <a:xfrm>
              <a:off x="5184925" y="1576250"/>
              <a:ext cx="205475" cy="197625"/>
            </a:xfrm>
            <a:custGeom>
              <a:avLst/>
              <a:gdLst/>
              <a:ahLst/>
              <a:cxnLst/>
              <a:rect l="l" t="t" r="r" b="b"/>
              <a:pathLst>
                <a:path w="8219" h="7905" extrusionOk="0">
                  <a:moveTo>
                    <a:pt x="4264" y="0"/>
                  </a:moveTo>
                  <a:cubicBezTo>
                    <a:pt x="2665" y="0"/>
                    <a:pt x="1226" y="964"/>
                    <a:pt x="612" y="2439"/>
                  </a:cubicBezTo>
                  <a:cubicBezTo>
                    <a:pt x="0" y="3918"/>
                    <a:pt x="341" y="5616"/>
                    <a:pt x="1470" y="6748"/>
                  </a:cubicBezTo>
                  <a:cubicBezTo>
                    <a:pt x="2225" y="7503"/>
                    <a:pt x="3236" y="7904"/>
                    <a:pt x="4264" y="7904"/>
                  </a:cubicBezTo>
                  <a:cubicBezTo>
                    <a:pt x="4774" y="7904"/>
                    <a:pt x="5287" y="7806"/>
                    <a:pt x="5776" y="7603"/>
                  </a:cubicBezTo>
                  <a:cubicBezTo>
                    <a:pt x="7255" y="6992"/>
                    <a:pt x="8218" y="5550"/>
                    <a:pt x="8218" y="3954"/>
                  </a:cubicBezTo>
                  <a:cubicBezTo>
                    <a:pt x="8212" y="3502"/>
                    <a:pt x="8131" y="3059"/>
                    <a:pt x="7974" y="2638"/>
                  </a:cubicBezTo>
                  <a:lnTo>
                    <a:pt x="7050" y="3565"/>
                  </a:lnTo>
                  <a:cubicBezTo>
                    <a:pt x="7071" y="3692"/>
                    <a:pt x="7083" y="3821"/>
                    <a:pt x="7089" y="3954"/>
                  </a:cubicBezTo>
                  <a:cubicBezTo>
                    <a:pt x="7089" y="5095"/>
                    <a:pt x="6399" y="6125"/>
                    <a:pt x="5345" y="6562"/>
                  </a:cubicBezTo>
                  <a:cubicBezTo>
                    <a:pt x="4996" y="6706"/>
                    <a:pt x="4629" y="6776"/>
                    <a:pt x="4265" y="6776"/>
                  </a:cubicBezTo>
                  <a:cubicBezTo>
                    <a:pt x="3530" y="6776"/>
                    <a:pt x="2808" y="6489"/>
                    <a:pt x="2268" y="5947"/>
                  </a:cubicBezTo>
                  <a:cubicBezTo>
                    <a:pt x="1461" y="5140"/>
                    <a:pt x="1220" y="3927"/>
                    <a:pt x="1657" y="2873"/>
                  </a:cubicBezTo>
                  <a:cubicBezTo>
                    <a:pt x="2093" y="1816"/>
                    <a:pt x="3123" y="1129"/>
                    <a:pt x="4264" y="1129"/>
                  </a:cubicBezTo>
                  <a:cubicBezTo>
                    <a:pt x="4394" y="1132"/>
                    <a:pt x="4523" y="1144"/>
                    <a:pt x="4653" y="1168"/>
                  </a:cubicBezTo>
                  <a:lnTo>
                    <a:pt x="5580" y="241"/>
                  </a:lnTo>
                  <a:cubicBezTo>
                    <a:pt x="5159" y="84"/>
                    <a:pt x="4713" y="3"/>
                    <a:pt x="426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1" name="Google Shape;2351;p37"/>
            <p:cNvSpPr/>
            <p:nvPr/>
          </p:nvSpPr>
          <p:spPr>
            <a:xfrm>
              <a:off x="5049725" y="1435075"/>
              <a:ext cx="481825" cy="481825"/>
            </a:xfrm>
            <a:custGeom>
              <a:avLst/>
              <a:gdLst/>
              <a:ahLst/>
              <a:cxnLst/>
              <a:rect l="l" t="t" r="r" b="b"/>
              <a:pathLst>
                <a:path w="19273" h="19273" extrusionOk="0">
                  <a:moveTo>
                    <a:pt x="9672" y="1"/>
                  </a:moveTo>
                  <a:cubicBezTo>
                    <a:pt x="4379" y="1"/>
                    <a:pt x="0" y="4307"/>
                    <a:pt x="0" y="9601"/>
                  </a:cubicBezTo>
                  <a:cubicBezTo>
                    <a:pt x="0" y="14892"/>
                    <a:pt x="4379" y="19273"/>
                    <a:pt x="9672" y="19273"/>
                  </a:cubicBezTo>
                  <a:cubicBezTo>
                    <a:pt x="14966" y="19273"/>
                    <a:pt x="19272" y="14892"/>
                    <a:pt x="19272" y="9601"/>
                  </a:cubicBezTo>
                  <a:cubicBezTo>
                    <a:pt x="19269" y="8204"/>
                    <a:pt x="18962" y="6821"/>
                    <a:pt x="18369" y="5557"/>
                  </a:cubicBezTo>
                  <a:lnTo>
                    <a:pt x="17646" y="6279"/>
                  </a:lnTo>
                  <a:cubicBezTo>
                    <a:pt x="17327" y="6599"/>
                    <a:pt x="16896" y="6776"/>
                    <a:pt x="16448" y="6776"/>
                  </a:cubicBezTo>
                  <a:lnTo>
                    <a:pt x="16430" y="6776"/>
                  </a:lnTo>
                  <a:cubicBezTo>
                    <a:pt x="16809" y="7671"/>
                    <a:pt x="17008" y="8628"/>
                    <a:pt x="17014" y="9601"/>
                  </a:cubicBezTo>
                  <a:cubicBezTo>
                    <a:pt x="17014" y="13648"/>
                    <a:pt x="13720" y="16939"/>
                    <a:pt x="9672" y="16939"/>
                  </a:cubicBezTo>
                  <a:cubicBezTo>
                    <a:pt x="5625" y="16939"/>
                    <a:pt x="2334" y="13648"/>
                    <a:pt x="2334" y="9601"/>
                  </a:cubicBezTo>
                  <a:cubicBezTo>
                    <a:pt x="2334" y="5554"/>
                    <a:pt x="5625" y="2259"/>
                    <a:pt x="9672" y="2259"/>
                  </a:cubicBezTo>
                  <a:cubicBezTo>
                    <a:pt x="10642" y="2265"/>
                    <a:pt x="11603" y="2464"/>
                    <a:pt x="12497" y="2844"/>
                  </a:cubicBezTo>
                  <a:lnTo>
                    <a:pt x="12497" y="2825"/>
                  </a:lnTo>
                  <a:cubicBezTo>
                    <a:pt x="12494" y="2374"/>
                    <a:pt x="12672" y="1943"/>
                    <a:pt x="12991" y="1627"/>
                  </a:cubicBezTo>
                  <a:lnTo>
                    <a:pt x="13713" y="904"/>
                  </a:lnTo>
                  <a:cubicBezTo>
                    <a:pt x="12449" y="311"/>
                    <a:pt x="11070" y="4"/>
                    <a:pt x="967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2" name="Google Shape;2352;p37"/>
            <p:cNvSpPr/>
            <p:nvPr/>
          </p:nvSpPr>
          <p:spPr>
            <a:xfrm>
              <a:off x="5245825" y="1435050"/>
              <a:ext cx="290450" cy="282350"/>
            </a:xfrm>
            <a:custGeom>
              <a:avLst/>
              <a:gdLst/>
              <a:ahLst/>
              <a:cxnLst/>
              <a:rect l="l" t="t" r="r" b="b"/>
              <a:pathLst>
                <a:path w="11618" h="11294" extrusionOk="0">
                  <a:moveTo>
                    <a:pt x="8601" y="1"/>
                  </a:moveTo>
                  <a:cubicBezTo>
                    <a:pt x="8461" y="1"/>
                    <a:pt x="8319" y="52"/>
                    <a:pt x="8203" y="168"/>
                  </a:cubicBezTo>
                  <a:lnTo>
                    <a:pt x="5945" y="2426"/>
                  </a:lnTo>
                  <a:cubicBezTo>
                    <a:pt x="5839" y="2531"/>
                    <a:pt x="5779" y="2676"/>
                    <a:pt x="5782" y="2826"/>
                  </a:cubicBezTo>
                  <a:lnTo>
                    <a:pt x="5782" y="4850"/>
                  </a:lnTo>
                  <a:lnTo>
                    <a:pt x="2554" y="8075"/>
                  </a:lnTo>
                  <a:cubicBezTo>
                    <a:pt x="2328" y="7967"/>
                    <a:pt x="2081" y="7906"/>
                    <a:pt x="1828" y="7906"/>
                  </a:cubicBezTo>
                  <a:cubicBezTo>
                    <a:pt x="1142" y="7906"/>
                    <a:pt x="525" y="8319"/>
                    <a:pt x="263" y="8951"/>
                  </a:cubicBezTo>
                  <a:cubicBezTo>
                    <a:pt x="1" y="9584"/>
                    <a:pt x="145" y="10312"/>
                    <a:pt x="630" y="10797"/>
                  </a:cubicBezTo>
                  <a:cubicBezTo>
                    <a:pt x="954" y="11122"/>
                    <a:pt x="1388" y="11294"/>
                    <a:pt x="1828" y="11294"/>
                  </a:cubicBezTo>
                  <a:cubicBezTo>
                    <a:pt x="2046" y="11294"/>
                    <a:pt x="2266" y="11251"/>
                    <a:pt x="2476" y="11165"/>
                  </a:cubicBezTo>
                  <a:cubicBezTo>
                    <a:pt x="3108" y="10903"/>
                    <a:pt x="3524" y="10285"/>
                    <a:pt x="3524" y="9602"/>
                  </a:cubicBezTo>
                  <a:cubicBezTo>
                    <a:pt x="3521" y="9349"/>
                    <a:pt x="3463" y="9102"/>
                    <a:pt x="3352" y="8876"/>
                  </a:cubicBezTo>
                  <a:lnTo>
                    <a:pt x="6580" y="5648"/>
                  </a:lnTo>
                  <a:lnTo>
                    <a:pt x="8604" y="5648"/>
                  </a:lnTo>
                  <a:cubicBezTo>
                    <a:pt x="8754" y="5648"/>
                    <a:pt x="8896" y="5588"/>
                    <a:pt x="9004" y="5482"/>
                  </a:cubicBezTo>
                  <a:lnTo>
                    <a:pt x="11263" y="3224"/>
                  </a:lnTo>
                  <a:cubicBezTo>
                    <a:pt x="11618" y="2869"/>
                    <a:pt x="11365" y="2260"/>
                    <a:pt x="10862" y="2260"/>
                  </a:cubicBezTo>
                  <a:lnTo>
                    <a:pt x="9170" y="2260"/>
                  </a:lnTo>
                  <a:lnTo>
                    <a:pt x="9170" y="568"/>
                  </a:lnTo>
                  <a:cubicBezTo>
                    <a:pt x="9170" y="226"/>
                    <a:pt x="8892" y="1"/>
                    <a:pt x="860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2353" name="Google Shape;2353;p37"/>
          <p:cNvGrpSpPr/>
          <p:nvPr/>
        </p:nvGrpSpPr>
        <p:grpSpPr>
          <a:xfrm>
            <a:off x="2870259" y="1200920"/>
            <a:ext cx="339200" cy="339271"/>
            <a:chOff x="5049725" y="2027900"/>
            <a:chExt cx="481750" cy="481850"/>
          </a:xfrm>
        </p:grpSpPr>
        <p:sp>
          <p:nvSpPr>
            <p:cNvPr id="2354" name="Google Shape;2354;p37"/>
            <p:cNvSpPr/>
            <p:nvPr/>
          </p:nvSpPr>
          <p:spPr>
            <a:xfrm>
              <a:off x="5191775" y="2394925"/>
              <a:ext cx="197625" cy="114825"/>
            </a:xfrm>
            <a:custGeom>
              <a:avLst/>
              <a:gdLst/>
              <a:ahLst/>
              <a:cxnLst/>
              <a:rect l="l" t="t" r="r" b="b"/>
              <a:pathLst>
                <a:path w="7905" h="4593" extrusionOk="0">
                  <a:moveTo>
                    <a:pt x="0" y="0"/>
                  </a:moveTo>
                  <a:lnTo>
                    <a:pt x="0" y="566"/>
                  </a:lnTo>
                  <a:cubicBezTo>
                    <a:pt x="3" y="1298"/>
                    <a:pt x="479" y="1949"/>
                    <a:pt x="1178" y="2171"/>
                  </a:cubicBezTo>
                  <a:cubicBezTo>
                    <a:pt x="1407" y="3502"/>
                    <a:pt x="2560" y="4593"/>
                    <a:pt x="3954" y="4593"/>
                  </a:cubicBezTo>
                  <a:cubicBezTo>
                    <a:pt x="5345" y="4593"/>
                    <a:pt x="6499" y="3502"/>
                    <a:pt x="6728" y="2171"/>
                  </a:cubicBezTo>
                  <a:cubicBezTo>
                    <a:pt x="7426" y="1949"/>
                    <a:pt x="7902" y="1298"/>
                    <a:pt x="7905" y="566"/>
                  </a:cubicBezTo>
                  <a:lnTo>
                    <a:pt x="790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5" name="Google Shape;2355;p37"/>
            <p:cNvSpPr/>
            <p:nvPr/>
          </p:nvSpPr>
          <p:spPr>
            <a:xfrm>
              <a:off x="5113625" y="2027900"/>
              <a:ext cx="347300" cy="338825"/>
            </a:xfrm>
            <a:custGeom>
              <a:avLst/>
              <a:gdLst/>
              <a:ahLst/>
              <a:cxnLst/>
              <a:rect l="l" t="t" r="r" b="b"/>
              <a:pathLst>
                <a:path w="13892" h="13553" extrusionOk="0">
                  <a:moveTo>
                    <a:pt x="7080" y="2260"/>
                  </a:moveTo>
                  <a:cubicBezTo>
                    <a:pt x="9574" y="2263"/>
                    <a:pt x="11594" y="4284"/>
                    <a:pt x="11597" y="6777"/>
                  </a:cubicBezTo>
                  <a:cubicBezTo>
                    <a:pt x="11597" y="7090"/>
                    <a:pt x="11344" y="7340"/>
                    <a:pt x="11031" y="7340"/>
                  </a:cubicBezTo>
                  <a:cubicBezTo>
                    <a:pt x="10718" y="7340"/>
                    <a:pt x="10468" y="7090"/>
                    <a:pt x="10468" y="6777"/>
                  </a:cubicBezTo>
                  <a:cubicBezTo>
                    <a:pt x="10465" y="4907"/>
                    <a:pt x="8950" y="3392"/>
                    <a:pt x="7080" y="3389"/>
                  </a:cubicBezTo>
                  <a:cubicBezTo>
                    <a:pt x="6767" y="3389"/>
                    <a:pt x="6514" y="3136"/>
                    <a:pt x="6514" y="2826"/>
                  </a:cubicBezTo>
                  <a:cubicBezTo>
                    <a:pt x="6514" y="2513"/>
                    <a:pt x="6767" y="2260"/>
                    <a:pt x="7080" y="2260"/>
                  </a:cubicBezTo>
                  <a:close/>
                  <a:moveTo>
                    <a:pt x="7070" y="1"/>
                  </a:moveTo>
                  <a:cubicBezTo>
                    <a:pt x="6595" y="1"/>
                    <a:pt x="6111" y="50"/>
                    <a:pt x="5623" y="152"/>
                  </a:cubicBezTo>
                  <a:cubicBezTo>
                    <a:pt x="3075" y="685"/>
                    <a:pt x="1001" y="2754"/>
                    <a:pt x="459" y="5301"/>
                  </a:cubicBezTo>
                  <a:cubicBezTo>
                    <a:pt x="1" y="7469"/>
                    <a:pt x="567" y="9644"/>
                    <a:pt x="2015" y="11270"/>
                  </a:cubicBezTo>
                  <a:cubicBezTo>
                    <a:pt x="2584" y="11908"/>
                    <a:pt x="2952" y="12703"/>
                    <a:pt x="3072" y="13552"/>
                  </a:cubicBezTo>
                  <a:lnTo>
                    <a:pt x="11088" y="13552"/>
                  </a:lnTo>
                  <a:cubicBezTo>
                    <a:pt x="11221" y="12691"/>
                    <a:pt x="11597" y="11887"/>
                    <a:pt x="12175" y="11233"/>
                  </a:cubicBezTo>
                  <a:cubicBezTo>
                    <a:pt x="13259" y="10002"/>
                    <a:pt x="13892" y="8418"/>
                    <a:pt x="13892" y="6777"/>
                  </a:cubicBezTo>
                  <a:cubicBezTo>
                    <a:pt x="13892" y="2969"/>
                    <a:pt x="10766" y="1"/>
                    <a:pt x="707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6" name="Google Shape;2356;p37"/>
            <p:cNvSpPr/>
            <p:nvPr/>
          </p:nvSpPr>
          <p:spPr>
            <a:xfrm>
              <a:off x="5049725" y="2197300"/>
              <a:ext cx="56400" cy="28275"/>
            </a:xfrm>
            <a:custGeom>
              <a:avLst/>
              <a:gdLst/>
              <a:ahLst/>
              <a:cxnLst/>
              <a:rect l="l" t="t" r="r" b="b"/>
              <a:pathLst>
                <a:path w="2256" h="1131" extrusionOk="0">
                  <a:moveTo>
                    <a:pt x="563" y="1"/>
                  </a:moveTo>
                  <a:cubicBezTo>
                    <a:pt x="250" y="1"/>
                    <a:pt x="0" y="254"/>
                    <a:pt x="0" y="567"/>
                  </a:cubicBezTo>
                  <a:cubicBezTo>
                    <a:pt x="0" y="877"/>
                    <a:pt x="250" y="1130"/>
                    <a:pt x="563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7" name="Google Shape;2357;p37"/>
            <p:cNvSpPr/>
            <p:nvPr/>
          </p:nvSpPr>
          <p:spPr>
            <a:xfrm>
              <a:off x="5052575" y="2102800"/>
              <a:ext cx="50850" cy="48075"/>
            </a:xfrm>
            <a:custGeom>
              <a:avLst/>
              <a:gdLst/>
              <a:ahLst/>
              <a:cxnLst/>
              <a:rect l="l" t="t" r="r" b="b"/>
              <a:pathLst>
                <a:path w="2034" h="1923" extrusionOk="0">
                  <a:moveTo>
                    <a:pt x="623" y="0"/>
                  </a:moveTo>
                  <a:cubicBezTo>
                    <a:pt x="478" y="0"/>
                    <a:pt x="333" y="56"/>
                    <a:pt x="224" y="167"/>
                  </a:cubicBezTo>
                  <a:cubicBezTo>
                    <a:pt x="4" y="384"/>
                    <a:pt x="1" y="736"/>
                    <a:pt x="214" y="959"/>
                  </a:cubicBezTo>
                  <a:lnTo>
                    <a:pt x="1015" y="1757"/>
                  </a:lnTo>
                  <a:cubicBezTo>
                    <a:pt x="1125" y="1867"/>
                    <a:pt x="1269" y="1922"/>
                    <a:pt x="1413" y="1922"/>
                  </a:cubicBezTo>
                  <a:cubicBezTo>
                    <a:pt x="1558" y="1922"/>
                    <a:pt x="1702" y="1867"/>
                    <a:pt x="1813" y="1757"/>
                  </a:cubicBezTo>
                  <a:cubicBezTo>
                    <a:pt x="2033" y="1534"/>
                    <a:pt x="2033" y="1179"/>
                    <a:pt x="1813" y="959"/>
                  </a:cubicBezTo>
                  <a:lnTo>
                    <a:pt x="1015" y="158"/>
                  </a:lnTo>
                  <a:cubicBezTo>
                    <a:pt x="906" y="53"/>
                    <a:pt x="764" y="0"/>
                    <a:pt x="623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8" name="Google Shape;2358;p37"/>
            <p:cNvSpPr/>
            <p:nvPr/>
          </p:nvSpPr>
          <p:spPr>
            <a:xfrm>
              <a:off x="5052575" y="2272175"/>
              <a:ext cx="50700" cy="47900"/>
            </a:xfrm>
            <a:custGeom>
              <a:avLst/>
              <a:gdLst/>
              <a:ahLst/>
              <a:cxnLst/>
              <a:rect l="l" t="t" r="r" b="b"/>
              <a:pathLst>
                <a:path w="2028" h="1916" extrusionOk="0">
                  <a:moveTo>
                    <a:pt x="1405" y="0"/>
                  </a:moveTo>
                  <a:cubicBezTo>
                    <a:pt x="1264" y="0"/>
                    <a:pt x="1124" y="53"/>
                    <a:pt x="1015" y="159"/>
                  </a:cubicBezTo>
                  <a:lnTo>
                    <a:pt x="214" y="960"/>
                  </a:lnTo>
                  <a:cubicBezTo>
                    <a:pt x="1" y="1179"/>
                    <a:pt x="4" y="1532"/>
                    <a:pt x="224" y="1749"/>
                  </a:cubicBezTo>
                  <a:cubicBezTo>
                    <a:pt x="333" y="1860"/>
                    <a:pt x="478" y="1916"/>
                    <a:pt x="623" y="1916"/>
                  </a:cubicBezTo>
                  <a:cubicBezTo>
                    <a:pt x="764" y="1916"/>
                    <a:pt x="906" y="1863"/>
                    <a:pt x="1015" y="1758"/>
                  </a:cubicBezTo>
                  <a:lnTo>
                    <a:pt x="1813" y="960"/>
                  </a:lnTo>
                  <a:cubicBezTo>
                    <a:pt x="2027" y="737"/>
                    <a:pt x="2024" y="384"/>
                    <a:pt x="1804" y="168"/>
                  </a:cubicBezTo>
                  <a:cubicBezTo>
                    <a:pt x="1695" y="56"/>
                    <a:pt x="1550" y="0"/>
                    <a:pt x="140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59" name="Google Shape;2359;p37"/>
            <p:cNvSpPr/>
            <p:nvPr/>
          </p:nvSpPr>
          <p:spPr>
            <a:xfrm>
              <a:off x="5475050" y="2197300"/>
              <a:ext cx="56425" cy="28275"/>
            </a:xfrm>
            <a:custGeom>
              <a:avLst/>
              <a:gdLst/>
              <a:ahLst/>
              <a:cxnLst/>
              <a:rect l="l" t="t" r="r" b="b"/>
              <a:pathLst>
                <a:path w="2257" h="1131" extrusionOk="0">
                  <a:moveTo>
                    <a:pt x="564" y="1"/>
                  </a:moveTo>
                  <a:cubicBezTo>
                    <a:pt x="251" y="1"/>
                    <a:pt x="1" y="254"/>
                    <a:pt x="1" y="567"/>
                  </a:cubicBezTo>
                  <a:cubicBezTo>
                    <a:pt x="1" y="877"/>
                    <a:pt x="251" y="1130"/>
                    <a:pt x="564" y="1130"/>
                  </a:cubicBezTo>
                  <a:lnTo>
                    <a:pt x="1693" y="1130"/>
                  </a:lnTo>
                  <a:cubicBezTo>
                    <a:pt x="2006" y="1130"/>
                    <a:pt x="2256" y="877"/>
                    <a:pt x="2256" y="567"/>
                  </a:cubicBezTo>
                  <a:cubicBezTo>
                    <a:pt x="2256" y="254"/>
                    <a:pt x="2006" y="1"/>
                    <a:pt x="16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60" name="Google Shape;2360;p37"/>
            <p:cNvSpPr/>
            <p:nvPr/>
          </p:nvSpPr>
          <p:spPr>
            <a:xfrm>
              <a:off x="5477925" y="2102800"/>
              <a:ext cx="50675" cy="47900"/>
            </a:xfrm>
            <a:custGeom>
              <a:avLst/>
              <a:gdLst/>
              <a:ahLst/>
              <a:cxnLst/>
              <a:rect l="l" t="t" r="r" b="b"/>
              <a:pathLst>
                <a:path w="2027" h="1916" extrusionOk="0">
                  <a:moveTo>
                    <a:pt x="1405" y="0"/>
                  </a:moveTo>
                  <a:cubicBezTo>
                    <a:pt x="1264" y="0"/>
                    <a:pt x="1123" y="53"/>
                    <a:pt x="1015" y="158"/>
                  </a:cubicBezTo>
                  <a:lnTo>
                    <a:pt x="214" y="959"/>
                  </a:lnTo>
                  <a:cubicBezTo>
                    <a:pt x="0" y="1179"/>
                    <a:pt x="3" y="1531"/>
                    <a:pt x="223" y="1748"/>
                  </a:cubicBezTo>
                  <a:cubicBezTo>
                    <a:pt x="333" y="1860"/>
                    <a:pt x="478" y="1915"/>
                    <a:pt x="623" y="1915"/>
                  </a:cubicBezTo>
                  <a:cubicBezTo>
                    <a:pt x="764" y="1915"/>
                    <a:pt x="905" y="1863"/>
                    <a:pt x="1015" y="1757"/>
                  </a:cubicBezTo>
                  <a:lnTo>
                    <a:pt x="1813" y="959"/>
                  </a:lnTo>
                  <a:cubicBezTo>
                    <a:pt x="2027" y="736"/>
                    <a:pt x="2024" y="384"/>
                    <a:pt x="1804" y="167"/>
                  </a:cubicBezTo>
                  <a:cubicBezTo>
                    <a:pt x="1694" y="56"/>
                    <a:pt x="1549" y="0"/>
                    <a:pt x="1405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2361" name="Google Shape;2361;p37"/>
            <p:cNvSpPr/>
            <p:nvPr/>
          </p:nvSpPr>
          <p:spPr>
            <a:xfrm>
              <a:off x="5477775" y="2272000"/>
              <a:ext cx="50825" cy="48075"/>
            </a:xfrm>
            <a:custGeom>
              <a:avLst/>
              <a:gdLst/>
              <a:ahLst/>
              <a:cxnLst/>
              <a:rect l="l" t="t" r="r" b="b"/>
              <a:pathLst>
                <a:path w="2033" h="1923" extrusionOk="0">
                  <a:moveTo>
                    <a:pt x="621" y="1"/>
                  </a:moveTo>
                  <a:cubicBezTo>
                    <a:pt x="476" y="1"/>
                    <a:pt x="331" y="56"/>
                    <a:pt x="220" y="166"/>
                  </a:cubicBezTo>
                  <a:cubicBezTo>
                    <a:pt x="0" y="388"/>
                    <a:pt x="0" y="744"/>
                    <a:pt x="220" y="967"/>
                  </a:cubicBezTo>
                  <a:lnTo>
                    <a:pt x="1021" y="1765"/>
                  </a:lnTo>
                  <a:cubicBezTo>
                    <a:pt x="1129" y="1870"/>
                    <a:pt x="1270" y="1923"/>
                    <a:pt x="1411" y="1923"/>
                  </a:cubicBezTo>
                  <a:cubicBezTo>
                    <a:pt x="1555" y="1923"/>
                    <a:pt x="1700" y="1867"/>
                    <a:pt x="1810" y="1756"/>
                  </a:cubicBezTo>
                  <a:cubicBezTo>
                    <a:pt x="2030" y="1539"/>
                    <a:pt x="2033" y="1186"/>
                    <a:pt x="1819" y="967"/>
                  </a:cubicBezTo>
                  <a:lnTo>
                    <a:pt x="1021" y="166"/>
                  </a:lnTo>
                  <a:cubicBezTo>
                    <a:pt x="910" y="56"/>
                    <a:pt x="765" y="1"/>
                    <a:pt x="62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2362" name="Google Shape;2362;p37"/>
          <p:cNvGrpSpPr/>
          <p:nvPr/>
        </p:nvGrpSpPr>
        <p:grpSpPr>
          <a:xfrm>
            <a:off x="4554347" y="1159589"/>
            <a:ext cx="394713" cy="421927"/>
            <a:chOff x="-2312225" y="3238300"/>
            <a:chExt cx="274125" cy="293025"/>
          </a:xfrm>
        </p:grpSpPr>
        <p:sp>
          <p:nvSpPr>
            <p:cNvPr id="2363" name="Google Shape;2363;p37"/>
            <p:cNvSpPr/>
            <p:nvPr/>
          </p:nvSpPr>
          <p:spPr>
            <a:xfrm>
              <a:off x="-2241325" y="3289500"/>
              <a:ext cx="203225" cy="241825"/>
            </a:xfrm>
            <a:custGeom>
              <a:avLst/>
              <a:gdLst/>
              <a:ahLst/>
              <a:cxnLst/>
              <a:rect l="l" t="t" r="r" b="b"/>
              <a:pathLst>
                <a:path w="8129" h="9673" extrusionOk="0">
                  <a:moveTo>
                    <a:pt x="2458" y="0"/>
                  </a:moveTo>
                  <a:cubicBezTo>
                    <a:pt x="2174" y="0"/>
                    <a:pt x="1954" y="221"/>
                    <a:pt x="1954" y="504"/>
                  </a:cubicBezTo>
                  <a:lnTo>
                    <a:pt x="1954" y="2836"/>
                  </a:lnTo>
                  <a:lnTo>
                    <a:pt x="1954" y="5167"/>
                  </a:lnTo>
                  <a:lnTo>
                    <a:pt x="914" y="4128"/>
                  </a:lnTo>
                  <a:cubicBezTo>
                    <a:pt x="820" y="4033"/>
                    <a:pt x="693" y="3986"/>
                    <a:pt x="567" y="3986"/>
                  </a:cubicBezTo>
                  <a:cubicBezTo>
                    <a:pt x="441" y="3986"/>
                    <a:pt x="315" y="4033"/>
                    <a:pt x="221" y="4128"/>
                  </a:cubicBezTo>
                  <a:cubicBezTo>
                    <a:pt x="0" y="4317"/>
                    <a:pt x="0" y="4632"/>
                    <a:pt x="221" y="4852"/>
                  </a:cubicBezTo>
                  <a:lnTo>
                    <a:pt x="2678" y="7310"/>
                  </a:lnTo>
                  <a:lnTo>
                    <a:pt x="2678" y="8664"/>
                  </a:lnTo>
                  <a:cubicBezTo>
                    <a:pt x="2678" y="9200"/>
                    <a:pt x="3151" y="9672"/>
                    <a:pt x="3718" y="9672"/>
                  </a:cubicBezTo>
                  <a:lnTo>
                    <a:pt x="6459" y="9672"/>
                  </a:lnTo>
                  <a:cubicBezTo>
                    <a:pt x="7026" y="9672"/>
                    <a:pt x="7499" y="9200"/>
                    <a:pt x="7499" y="8664"/>
                  </a:cubicBezTo>
                  <a:lnTo>
                    <a:pt x="7499" y="8066"/>
                  </a:lnTo>
                  <a:cubicBezTo>
                    <a:pt x="7688" y="7656"/>
                    <a:pt x="7845" y="7278"/>
                    <a:pt x="7940" y="6837"/>
                  </a:cubicBezTo>
                  <a:cubicBezTo>
                    <a:pt x="8034" y="6396"/>
                    <a:pt x="8129" y="5986"/>
                    <a:pt x="8129" y="5514"/>
                  </a:cubicBezTo>
                  <a:lnTo>
                    <a:pt x="8129" y="3308"/>
                  </a:lnTo>
                  <a:cubicBezTo>
                    <a:pt x="8129" y="3025"/>
                    <a:pt x="7877" y="2773"/>
                    <a:pt x="7625" y="2773"/>
                  </a:cubicBezTo>
                  <a:cubicBezTo>
                    <a:pt x="7341" y="2773"/>
                    <a:pt x="7089" y="3025"/>
                    <a:pt x="7089" y="3308"/>
                  </a:cubicBezTo>
                  <a:lnTo>
                    <a:pt x="7089" y="3812"/>
                  </a:lnTo>
                  <a:cubicBezTo>
                    <a:pt x="7089" y="4002"/>
                    <a:pt x="6931" y="4159"/>
                    <a:pt x="6742" y="4159"/>
                  </a:cubicBezTo>
                  <a:cubicBezTo>
                    <a:pt x="6553" y="4159"/>
                    <a:pt x="6396" y="4002"/>
                    <a:pt x="6396" y="3812"/>
                  </a:cubicBezTo>
                  <a:lnTo>
                    <a:pt x="6396" y="2615"/>
                  </a:lnTo>
                  <a:cubicBezTo>
                    <a:pt x="6396" y="2363"/>
                    <a:pt x="6144" y="2111"/>
                    <a:pt x="5892" y="2111"/>
                  </a:cubicBezTo>
                  <a:cubicBezTo>
                    <a:pt x="5608" y="2111"/>
                    <a:pt x="5356" y="2363"/>
                    <a:pt x="5356" y="2615"/>
                  </a:cubicBezTo>
                  <a:cubicBezTo>
                    <a:pt x="5357" y="2615"/>
                    <a:pt x="5358" y="2615"/>
                    <a:pt x="5359" y="2615"/>
                  </a:cubicBezTo>
                  <a:cubicBezTo>
                    <a:pt x="5418" y="2615"/>
                    <a:pt x="5419" y="3769"/>
                    <a:pt x="5419" y="3781"/>
                  </a:cubicBezTo>
                  <a:lnTo>
                    <a:pt x="5419" y="3781"/>
                  </a:lnTo>
                  <a:cubicBezTo>
                    <a:pt x="5419" y="3970"/>
                    <a:pt x="5262" y="4128"/>
                    <a:pt x="5041" y="4128"/>
                  </a:cubicBezTo>
                  <a:cubicBezTo>
                    <a:pt x="4852" y="4128"/>
                    <a:pt x="4695" y="3970"/>
                    <a:pt x="4695" y="3781"/>
                  </a:cubicBezTo>
                  <a:lnTo>
                    <a:pt x="4695" y="2584"/>
                  </a:lnTo>
                  <a:cubicBezTo>
                    <a:pt x="4695" y="2332"/>
                    <a:pt x="4474" y="2080"/>
                    <a:pt x="4191" y="2080"/>
                  </a:cubicBezTo>
                  <a:cubicBezTo>
                    <a:pt x="3907" y="2080"/>
                    <a:pt x="3686" y="2332"/>
                    <a:pt x="3686" y="2584"/>
                  </a:cubicBezTo>
                  <a:lnTo>
                    <a:pt x="3686" y="3781"/>
                  </a:lnTo>
                  <a:cubicBezTo>
                    <a:pt x="3686" y="3970"/>
                    <a:pt x="3529" y="4128"/>
                    <a:pt x="3308" y="4128"/>
                  </a:cubicBezTo>
                  <a:cubicBezTo>
                    <a:pt x="3119" y="4128"/>
                    <a:pt x="2962" y="3970"/>
                    <a:pt x="2962" y="3781"/>
                  </a:cubicBezTo>
                  <a:lnTo>
                    <a:pt x="2962" y="504"/>
                  </a:lnTo>
                  <a:cubicBezTo>
                    <a:pt x="2962" y="221"/>
                    <a:pt x="2741" y="0"/>
                    <a:pt x="245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4" name="Google Shape;2364;p37"/>
            <p:cNvSpPr/>
            <p:nvPr/>
          </p:nvSpPr>
          <p:spPr>
            <a:xfrm>
              <a:off x="-2312225" y="3238300"/>
              <a:ext cx="241825" cy="241050"/>
            </a:xfrm>
            <a:custGeom>
              <a:avLst/>
              <a:gdLst/>
              <a:ahLst/>
              <a:cxnLst/>
              <a:rect l="l" t="t" r="r" b="b"/>
              <a:pathLst>
                <a:path w="9673" h="9642" extrusionOk="0">
                  <a:moveTo>
                    <a:pt x="379" y="1"/>
                  </a:moveTo>
                  <a:cubicBezTo>
                    <a:pt x="158" y="1"/>
                    <a:pt x="1" y="158"/>
                    <a:pt x="1" y="347"/>
                  </a:cubicBezTo>
                  <a:lnTo>
                    <a:pt x="1" y="1733"/>
                  </a:lnTo>
                  <a:cubicBezTo>
                    <a:pt x="1" y="1922"/>
                    <a:pt x="158" y="2080"/>
                    <a:pt x="379" y="2080"/>
                  </a:cubicBezTo>
                  <a:lnTo>
                    <a:pt x="726" y="2080"/>
                  </a:lnTo>
                  <a:lnTo>
                    <a:pt x="726" y="7562"/>
                  </a:lnTo>
                  <a:lnTo>
                    <a:pt x="379" y="7562"/>
                  </a:lnTo>
                  <a:cubicBezTo>
                    <a:pt x="158" y="7562"/>
                    <a:pt x="1" y="7719"/>
                    <a:pt x="1" y="7908"/>
                  </a:cubicBezTo>
                  <a:lnTo>
                    <a:pt x="1" y="9294"/>
                  </a:lnTo>
                  <a:cubicBezTo>
                    <a:pt x="1" y="9484"/>
                    <a:pt x="158" y="9641"/>
                    <a:pt x="379" y="9641"/>
                  </a:cubicBezTo>
                  <a:lnTo>
                    <a:pt x="1734" y="9641"/>
                  </a:lnTo>
                  <a:cubicBezTo>
                    <a:pt x="1954" y="9641"/>
                    <a:pt x="2112" y="9484"/>
                    <a:pt x="2112" y="9294"/>
                  </a:cubicBezTo>
                  <a:lnTo>
                    <a:pt x="2112" y="8916"/>
                  </a:lnTo>
                  <a:lnTo>
                    <a:pt x="4160" y="8916"/>
                  </a:lnTo>
                  <a:lnTo>
                    <a:pt x="3435" y="8223"/>
                  </a:lnTo>
                  <a:lnTo>
                    <a:pt x="2112" y="8223"/>
                  </a:lnTo>
                  <a:lnTo>
                    <a:pt x="2112" y="7877"/>
                  </a:lnTo>
                  <a:cubicBezTo>
                    <a:pt x="2112" y="7688"/>
                    <a:pt x="1954" y="7530"/>
                    <a:pt x="1734" y="7530"/>
                  </a:cubicBezTo>
                  <a:lnTo>
                    <a:pt x="1387" y="7530"/>
                  </a:lnTo>
                  <a:lnTo>
                    <a:pt x="1387" y="2080"/>
                  </a:lnTo>
                  <a:lnTo>
                    <a:pt x="1734" y="2080"/>
                  </a:lnTo>
                  <a:cubicBezTo>
                    <a:pt x="1954" y="2080"/>
                    <a:pt x="2112" y="1922"/>
                    <a:pt x="2112" y="1733"/>
                  </a:cubicBezTo>
                  <a:lnTo>
                    <a:pt x="2112" y="1387"/>
                  </a:lnTo>
                  <a:lnTo>
                    <a:pt x="7562" y="1387"/>
                  </a:lnTo>
                  <a:lnTo>
                    <a:pt x="7562" y="1733"/>
                  </a:lnTo>
                  <a:cubicBezTo>
                    <a:pt x="7562" y="1922"/>
                    <a:pt x="7720" y="2080"/>
                    <a:pt x="7940" y="2080"/>
                  </a:cubicBezTo>
                  <a:lnTo>
                    <a:pt x="8287" y="2080"/>
                  </a:lnTo>
                  <a:lnTo>
                    <a:pt x="8287" y="3592"/>
                  </a:lnTo>
                  <a:cubicBezTo>
                    <a:pt x="8444" y="3498"/>
                    <a:pt x="8602" y="3466"/>
                    <a:pt x="8791" y="3466"/>
                  </a:cubicBezTo>
                  <a:cubicBezTo>
                    <a:pt x="8885" y="3466"/>
                    <a:pt x="8917" y="3466"/>
                    <a:pt x="8948" y="3498"/>
                  </a:cubicBezTo>
                  <a:lnTo>
                    <a:pt x="8948" y="2080"/>
                  </a:lnTo>
                  <a:lnTo>
                    <a:pt x="9326" y="2080"/>
                  </a:lnTo>
                  <a:cubicBezTo>
                    <a:pt x="9515" y="2080"/>
                    <a:pt x="9673" y="1922"/>
                    <a:pt x="9673" y="1733"/>
                  </a:cubicBezTo>
                  <a:lnTo>
                    <a:pt x="9673" y="347"/>
                  </a:lnTo>
                  <a:cubicBezTo>
                    <a:pt x="9673" y="158"/>
                    <a:pt x="9515" y="1"/>
                    <a:pt x="9326" y="1"/>
                  </a:cubicBezTo>
                  <a:lnTo>
                    <a:pt x="7940" y="1"/>
                  </a:lnTo>
                  <a:cubicBezTo>
                    <a:pt x="7751" y="1"/>
                    <a:pt x="7562" y="158"/>
                    <a:pt x="7562" y="347"/>
                  </a:cubicBezTo>
                  <a:lnTo>
                    <a:pt x="7562" y="694"/>
                  </a:lnTo>
                  <a:lnTo>
                    <a:pt x="2112" y="694"/>
                  </a:lnTo>
                  <a:lnTo>
                    <a:pt x="2112" y="347"/>
                  </a:lnTo>
                  <a:cubicBezTo>
                    <a:pt x="2112" y="158"/>
                    <a:pt x="1954" y="1"/>
                    <a:pt x="173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9" name="Google Shape;2318;p37">
            <a:extLst>
              <a:ext uri="{FF2B5EF4-FFF2-40B4-BE49-F238E27FC236}">
                <a16:creationId xmlns:a16="http://schemas.microsoft.com/office/drawing/2014/main" id="{9C4CA5A7-5F9A-414E-8E6B-B026A4D06125}"/>
              </a:ext>
            </a:extLst>
          </p:cNvPr>
          <p:cNvSpPr/>
          <p:nvPr/>
        </p:nvSpPr>
        <p:spPr>
          <a:xfrm>
            <a:off x="850578" y="2971804"/>
            <a:ext cx="683700" cy="6837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2330;p37">
            <a:extLst>
              <a:ext uri="{FF2B5EF4-FFF2-40B4-BE49-F238E27FC236}">
                <a16:creationId xmlns:a16="http://schemas.microsoft.com/office/drawing/2014/main" id="{FACD225E-18B0-40A2-A571-DCEFCD246BBB}"/>
              </a:ext>
            </a:extLst>
          </p:cNvPr>
          <p:cNvSpPr txBox="1"/>
          <p:nvPr/>
        </p:nvSpPr>
        <p:spPr>
          <a:xfrm>
            <a:off x="333559" y="4319541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>
              <a:lnSpc>
                <a:spcPct val="115000"/>
              </a:lnSpc>
            </a:pPr>
            <a:r>
              <a:rPr lang="en-US" sz="1200" dirty="0">
                <a:latin typeface="Roboto"/>
                <a:ea typeface="Roboto"/>
                <a:cs typeface="Roboto"/>
                <a:sym typeface="Roboto"/>
              </a:rPr>
              <a:t>test          476</a:t>
            </a:r>
          </a:p>
        </p:txBody>
      </p:sp>
      <p:grpSp>
        <p:nvGrpSpPr>
          <p:cNvPr id="52" name="Google Shape;2335;p37">
            <a:extLst>
              <a:ext uri="{FF2B5EF4-FFF2-40B4-BE49-F238E27FC236}">
                <a16:creationId xmlns:a16="http://schemas.microsoft.com/office/drawing/2014/main" id="{FDCCF782-8B78-466F-9364-83505F6BF0E5}"/>
              </a:ext>
            </a:extLst>
          </p:cNvPr>
          <p:cNvGrpSpPr/>
          <p:nvPr/>
        </p:nvGrpSpPr>
        <p:grpSpPr>
          <a:xfrm>
            <a:off x="1008857" y="3165920"/>
            <a:ext cx="339306" cy="251698"/>
            <a:chOff x="2678275" y="2090100"/>
            <a:chExt cx="481900" cy="357475"/>
          </a:xfrm>
        </p:grpSpPr>
        <p:sp>
          <p:nvSpPr>
            <p:cNvPr id="53" name="Google Shape;2336;p37">
              <a:extLst>
                <a:ext uri="{FF2B5EF4-FFF2-40B4-BE49-F238E27FC236}">
                  <a16:creationId xmlns:a16="http://schemas.microsoft.com/office/drawing/2014/main" id="{8F025470-96FA-4127-940F-B5A89F10EC27}"/>
                </a:ext>
              </a:extLst>
            </p:cNvPr>
            <p:cNvSpPr/>
            <p:nvPr/>
          </p:nvSpPr>
          <p:spPr>
            <a:xfrm>
              <a:off x="289945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93" y="1"/>
                  </a:moveTo>
                  <a:cubicBezTo>
                    <a:pt x="356" y="1"/>
                    <a:pt x="1" y="353"/>
                    <a:pt x="1" y="790"/>
                  </a:cubicBezTo>
                  <a:cubicBezTo>
                    <a:pt x="1" y="1226"/>
                    <a:pt x="356" y="1581"/>
                    <a:pt x="793" y="1581"/>
                  </a:cubicBezTo>
                  <a:cubicBezTo>
                    <a:pt x="1227" y="1581"/>
                    <a:pt x="1582" y="1226"/>
                    <a:pt x="1582" y="790"/>
                  </a:cubicBezTo>
                  <a:cubicBezTo>
                    <a:pt x="1582" y="353"/>
                    <a:pt x="1227" y="1"/>
                    <a:pt x="7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54" name="Google Shape;2337;p37">
              <a:extLst>
                <a:ext uri="{FF2B5EF4-FFF2-40B4-BE49-F238E27FC236}">
                  <a16:creationId xmlns:a16="http://schemas.microsoft.com/office/drawing/2014/main" id="{655FC791-9F3F-4F5F-8C9A-D2E86F96262A}"/>
                </a:ext>
              </a:extLst>
            </p:cNvPr>
            <p:cNvSpPr/>
            <p:nvPr/>
          </p:nvSpPr>
          <p:spPr>
            <a:xfrm>
              <a:off x="309240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90" y="1"/>
                  </a:moveTo>
                  <a:cubicBezTo>
                    <a:pt x="353" y="1"/>
                    <a:pt x="1" y="353"/>
                    <a:pt x="1" y="790"/>
                  </a:cubicBezTo>
                  <a:cubicBezTo>
                    <a:pt x="1" y="1226"/>
                    <a:pt x="353" y="1581"/>
                    <a:pt x="790" y="1581"/>
                  </a:cubicBezTo>
                  <a:cubicBezTo>
                    <a:pt x="1226" y="1581"/>
                    <a:pt x="1582" y="1226"/>
                    <a:pt x="1582" y="790"/>
                  </a:cubicBezTo>
                  <a:cubicBezTo>
                    <a:pt x="1582" y="353"/>
                    <a:pt x="1226" y="1"/>
                    <a:pt x="79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55" name="Google Shape;2338;p37">
              <a:extLst>
                <a:ext uri="{FF2B5EF4-FFF2-40B4-BE49-F238E27FC236}">
                  <a16:creationId xmlns:a16="http://schemas.microsoft.com/office/drawing/2014/main" id="{966DFC8A-64CF-4114-BEBD-881C7C6D624D}"/>
                </a:ext>
              </a:extLst>
            </p:cNvPr>
            <p:cNvSpPr/>
            <p:nvPr/>
          </p:nvSpPr>
          <p:spPr>
            <a:xfrm>
              <a:off x="2678350" y="2389425"/>
              <a:ext cx="481825" cy="58150"/>
            </a:xfrm>
            <a:custGeom>
              <a:avLst/>
              <a:gdLst/>
              <a:ahLst/>
              <a:cxnLst/>
              <a:rect l="l" t="t" r="r" b="b"/>
              <a:pathLst>
                <a:path w="19273" h="2326" extrusionOk="0">
                  <a:moveTo>
                    <a:pt x="1" y="1"/>
                  </a:moveTo>
                  <a:lnTo>
                    <a:pt x="1" y="1759"/>
                  </a:lnTo>
                  <a:cubicBezTo>
                    <a:pt x="1" y="2072"/>
                    <a:pt x="251" y="2325"/>
                    <a:pt x="564" y="2325"/>
                  </a:cubicBezTo>
                  <a:lnTo>
                    <a:pt x="18707" y="2325"/>
                  </a:lnTo>
                  <a:cubicBezTo>
                    <a:pt x="19020" y="2325"/>
                    <a:pt x="19273" y="2072"/>
                    <a:pt x="19273" y="1759"/>
                  </a:cubicBezTo>
                  <a:lnTo>
                    <a:pt x="19273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56" name="Google Shape;2339;p37">
              <a:extLst>
                <a:ext uri="{FF2B5EF4-FFF2-40B4-BE49-F238E27FC236}">
                  <a16:creationId xmlns:a16="http://schemas.microsoft.com/office/drawing/2014/main" id="{47AAFB27-CBBE-484B-998C-A93C267866F1}"/>
                </a:ext>
              </a:extLst>
            </p:cNvPr>
            <p:cNvSpPr/>
            <p:nvPr/>
          </p:nvSpPr>
          <p:spPr>
            <a:xfrm>
              <a:off x="2706600" y="2249100"/>
              <a:ext cx="39550" cy="39550"/>
            </a:xfrm>
            <a:custGeom>
              <a:avLst/>
              <a:gdLst/>
              <a:ahLst/>
              <a:cxnLst/>
              <a:rect l="l" t="t" r="r" b="b"/>
              <a:pathLst>
                <a:path w="1582" h="1582" extrusionOk="0">
                  <a:moveTo>
                    <a:pt x="789" y="1"/>
                  </a:moveTo>
                  <a:cubicBezTo>
                    <a:pt x="352" y="1"/>
                    <a:pt x="0" y="353"/>
                    <a:pt x="0" y="790"/>
                  </a:cubicBezTo>
                  <a:cubicBezTo>
                    <a:pt x="0" y="1226"/>
                    <a:pt x="352" y="1581"/>
                    <a:pt x="789" y="1581"/>
                  </a:cubicBezTo>
                  <a:cubicBezTo>
                    <a:pt x="1226" y="1581"/>
                    <a:pt x="1581" y="1226"/>
                    <a:pt x="1581" y="790"/>
                  </a:cubicBezTo>
                  <a:cubicBezTo>
                    <a:pt x="1581" y="353"/>
                    <a:pt x="1226" y="1"/>
                    <a:pt x="78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57" name="Google Shape;2340;p37">
              <a:extLst>
                <a:ext uri="{FF2B5EF4-FFF2-40B4-BE49-F238E27FC236}">
                  <a16:creationId xmlns:a16="http://schemas.microsoft.com/office/drawing/2014/main" id="{F54A7E6F-AFD2-4A22-8B6C-B3BE8588485B}"/>
                </a:ext>
              </a:extLst>
            </p:cNvPr>
            <p:cNvSpPr/>
            <p:nvPr/>
          </p:nvSpPr>
          <p:spPr>
            <a:xfrm>
              <a:off x="2678275" y="2090100"/>
              <a:ext cx="481900" cy="271125"/>
            </a:xfrm>
            <a:custGeom>
              <a:avLst/>
              <a:gdLst/>
              <a:ahLst/>
              <a:cxnLst/>
              <a:rect l="l" t="t" r="r" b="b"/>
              <a:pathLst>
                <a:path w="19276" h="10845" extrusionOk="0">
                  <a:moveTo>
                    <a:pt x="9638" y="5229"/>
                  </a:moveTo>
                  <a:cubicBezTo>
                    <a:pt x="9885" y="5229"/>
                    <a:pt x="10134" y="5277"/>
                    <a:pt x="10372" y="5376"/>
                  </a:cubicBezTo>
                  <a:cubicBezTo>
                    <a:pt x="11091" y="5674"/>
                    <a:pt x="11558" y="6373"/>
                    <a:pt x="11558" y="7150"/>
                  </a:cubicBezTo>
                  <a:cubicBezTo>
                    <a:pt x="11558" y="8209"/>
                    <a:pt x="10697" y="9068"/>
                    <a:pt x="9640" y="9071"/>
                  </a:cubicBezTo>
                  <a:cubicBezTo>
                    <a:pt x="8863" y="9071"/>
                    <a:pt x="8161" y="8601"/>
                    <a:pt x="7866" y="7884"/>
                  </a:cubicBezTo>
                  <a:cubicBezTo>
                    <a:pt x="7568" y="7168"/>
                    <a:pt x="7731" y="6343"/>
                    <a:pt x="8282" y="5791"/>
                  </a:cubicBezTo>
                  <a:cubicBezTo>
                    <a:pt x="8648" y="5425"/>
                    <a:pt x="9139" y="5229"/>
                    <a:pt x="9638" y="5229"/>
                  </a:cubicBezTo>
                  <a:close/>
                  <a:moveTo>
                    <a:pt x="571" y="1"/>
                  </a:moveTo>
                  <a:cubicBezTo>
                    <a:pt x="281" y="1"/>
                    <a:pt x="3" y="226"/>
                    <a:pt x="1" y="567"/>
                  </a:cubicBezTo>
                  <a:lnTo>
                    <a:pt x="1" y="7150"/>
                  </a:lnTo>
                  <a:cubicBezTo>
                    <a:pt x="1" y="6373"/>
                    <a:pt x="471" y="5674"/>
                    <a:pt x="1187" y="5376"/>
                  </a:cubicBezTo>
                  <a:cubicBezTo>
                    <a:pt x="1425" y="5277"/>
                    <a:pt x="1674" y="5229"/>
                    <a:pt x="1921" y="5229"/>
                  </a:cubicBezTo>
                  <a:cubicBezTo>
                    <a:pt x="2420" y="5229"/>
                    <a:pt x="2912" y="5425"/>
                    <a:pt x="3280" y="5791"/>
                  </a:cubicBezTo>
                  <a:cubicBezTo>
                    <a:pt x="3828" y="6343"/>
                    <a:pt x="3994" y="7168"/>
                    <a:pt x="3696" y="7884"/>
                  </a:cubicBezTo>
                  <a:cubicBezTo>
                    <a:pt x="3398" y="8601"/>
                    <a:pt x="2699" y="9071"/>
                    <a:pt x="1922" y="9071"/>
                  </a:cubicBezTo>
                  <a:cubicBezTo>
                    <a:pt x="862" y="9068"/>
                    <a:pt x="4" y="8209"/>
                    <a:pt x="1" y="7150"/>
                  </a:cubicBezTo>
                  <a:lnTo>
                    <a:pt x="1" y="10844"/>
                  </a:lnTo>
                  <a:lnTo>
                    <a:pt x="19276" y="10844"/>
                  </a:lnTo>
                  <a:lnTo>
                    <a:pt x="19276" y="7150"/>
                  </a:lnTo>
                  <a:cubicBezTo>
                    <a:pt x="19276" y="7926"/>
                    <a:pt x="18806" y="8625"/>
                    <a:pt x="18089" y="8923"/>
                  </a:cubicBezTo>
                  <a:cubicBezTo>
                    <a:pt x="17852" y="9022"/>
                    <a:pt x="17603" y="9070"/>
                    <a:pt x="17356" y="9070"/>
                  </a:cubicBezTo>
                  <a:cubicBezTo>
                    <a:pt x="16857" y="9070"/>
                    <a:pt x="16365" y="8874"/>
                    <a:pt x="15997" y="8508"/>
                  </a:cubicBezTo>
                  <a:cubicBezTo>
                    <a:pt x="15449" y="7957"/>
                    <a:pt x="15283" y="7131"/>
                    <a:pt x="15581" y="6415"/>
                  </a:cubicBezTo>
                  <a:cubicBezTo>
                    <a:pt x="15879" y="5698"/>
                    <a:pt x="16578" y="5231"/>
                    <a:pt x="17355" y="5231"/>
                  </a:cubicBezTo>
                  <a:cubicBezTo>
                    <a:pt x="18415" y="5231"/>
                    <a:pt x="19273" y="6090"/>
                    <a:pt x="19276" y="7150"/>
                  </a:cubicBezTo>
                  <a:lnTo>
                    <a:pt x="19276" y="567"/>
                  </a:lnTo>
                  <a:cubicBezTo>
                    <a:pt x="19276" y="341"/>
                    <a:pt x="19137" y="133"/>
                    <a:pt x="18927" y="46"/>
                  </a:cubicBezTo>
                  <a:cubicBezTo>
                    <a:pt x="18857" y="17"/>
                    <a:pt x="18783" y="2"/>
                    <a:pt x="18709" y="2"/>
                  </a:cubicBezTo>
                  <a:cubicBezTo>
                    <a:pt x="18564" y="2"/>
                    <a:pt x="18420" y="58"/>
                    <a:pt x="18312" y="166"/>
                  </a:cubicBezTo>
                  <a:lnTo>
                    <a:pt x="14783" y="3641"/>
                  </a:lnTo>
                  <a:lnTo>
                    <a:pt x="9971" y="112"/>
                  </a:lnTo>
                  <a:cubicBezTo>
                    <a:pt x="9871" y="38"/>
                    <a:pt x="9754" y="1"/>
                    <a:pt x="9636" y="1"/>
                  </a:cubicBezTo>
                  <a:cubicBezTo>
                    <a:pt x="9517" y="1"/>
                    <a:pt x="9397" y="39"/>
                    <a:pt x="9297" y="115"/>
                  </a:cubicBezTo>
                  <a:lnTo>
                    <a:pt x="4656" y="3641"/>
                  </a:lnTo>
                  <a:lnTo>
                    <a:pt x="952" y="154"/>
                  </a:lnTo>
                  <a:cubicBezTo>
                    <a:pt x="840" y="48"/>
                    <a:pt x="704" y="1"/>
                    <a:pt x="571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sp>
        <p:nvSpPr>
          <p:cNvPr id="59" name="Google Shape;2329;p37">
            <a:extLst>
              <a:ext uri="{FF2B5EF4-FFF2-40B4-BE49-F238E27FC236}">
                <a16:creationId xmlns:a16="http://schemas.microsoft.com/office/drawing/2014/main" id="{CA90EB3E-D6A6-48F4-AD76-72E71F9A7954}"/>
              </a:ext>
            </a:extLst>
          </p:cNvPr>
          <p:cNvSpPr txBox="1"/>
          <p:nvPr/>
        </p:nvSpPr>
        <p:spPr>
          <a:xfrm>
            <a:off x="2043182" y="4040664"/>
            <a:ext cx="19803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>
              <a:buClr>
                <a:schemeClr val="dk1"/>
              </a:buClr>
              <a:buSzPts val="1100"/>
            </a:pPr>
            <a:r>
              <a:rPr lang="ru-RU" sz="1800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Торговая точка 11</a:t>
            </a:r>
            <a:r>
              <a:rPr lang="en-US" sz="1800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86</a:t>
            </a:r>
            <a:endParaRPr lang="ru-RU" sz="1800" b="1" dirty="0">
              <a:solidFill>
                <a:schemeClr val="dk1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102" name="Google Shape;1160;p22">
            <a:extLst>
              <a:ext uri="{FF2B5EF4-FFF2-40B4-BE49-F238E27FC236}">
                <a16:creationId xmlns:a16="http://schemas.microsoft.com/office/drawing/2014/main" id="{07A5F9D4-101A-4714-89E5-795C937043A8}"/>
              </a:ext>
            </a:extLst>
          </p:cNvPr>
          <p:cNvSpPr/>
          <p:nvPr/>
        </p:nvSpPr>
        <p:spPr>
          <a:xfrm>
            <a:off x="6019516" y="1386538"/>
            <a:ext cx="2723018" cy="2734248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164;p22">
            <a:extLst>
              <a:ext uri="{FF2B5EF4-FFF2-40B4-BE49-F238E27FC236}">
                <a16:creationId xmlns:a16="http://schemas.microsoft.com/office/drawing/2014/main" id="{C909CA20-C0E8-4880-8216-646F7C4D34BB}"/>
              </a:ext>
            </a:extLst>
          </p:cNvPr>
          <p:cNvSpPr txBox="1"/>
          <p:nvPr/>
        </p:nvSpPr>
        <p:spPr>
          <a:xfrm>
            <a:off x="6333216" y="1374759"/>
            <a:ext cx="1376978" cy="645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Выводы</a:t>
            </a:r>
            <a:endParaRPr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104" name="Google Shape;1166;p22">
            <a:extLst>
              <a:ext uri="{FF2B5EF4-FFF2-40B4-BE49-F238E27FC236}">
                <a16:creationId xmlns:a16="http://schemas.microsoft.com/office/drawing/2014/main" id="{A950D8CC-6403-405F-A540-8DB8E9EC53A5}"/>
              </a:ext>
            </a:extLst>
          </p:cNvPr>
          <p:cNvSpPr txBox="1"/>
          <p:nvPr/>
        </p:nvSpPr>
        <p:spPr>
          <a:xfrm>
            <a:off x="6334599" y="2398952"/>
            <a:ext cx="2323703" cy="12852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>
              <a:lnSpc>
                <a:spcPct val="70000"/>
              </a:lnSpc>
            </a:pPr>
            <a:r>
              <a:rPr lang="ru-RU" dirty="0">
                <a:latin typeface="Fira Sans" panose="020B0604020202020204" charset="0"/>
              </a:rPr>
              <a:t>Торговые точки 1188, 1189, 1199 – исключаются из дальнейшего исследования ввиду того, что:</a:t>
            </a:r>
          </a:p>
          <a:p>
            <a:pPr lvl="0">
              <a:lnSpc>
                <a:spcPct val="70000"/>
              </a:lnSpc>
            </a:pPr>
            <a:endParaRPr lang="ru-RU" dirty="0">
              <a:latin typeface="Fira Sans" panose="020B0604020202020204" charset="0"/>
            </a:endParaRPr>
          </a:p>
          <a:p>
            <a:pPr marL="342900" lvl="0" indent="-342900">
              <a:lnSpc>
                <a:spcPct val="70000"/>
              </a:lnSpc>
              <a:buAutoNum type="arabicPeriod"/>
            </a:pPr>
            <a:r>
              <a:rPr lang="ru-RU" dirty="0">
                <a:latin typeface="Fira Sans" panose="020B0604020202020204" charset="0"/>
              </a:rPr>
              <a:t>Количество наблюдений для тестирования недостаточно в точках 1186 и 1188</a:t>
            </a:r>
          </a:p>
          <a:p>
            <a:pPr marL="342900" lvl="0" indent="-342900">
              <a:lnSpc>
                <a:spcPct val="70000"/>
              </a:lnSpc>
              <a:buAutoNum type="arabicPeriod"/>
            </a:pPr>
            <a:r>
              <a:rPr lang="ru-RU" dirty="0">
                <a:latin typeface="Fira Sans" panose="020B0604020202020204" charset="0"/>
              </a:rPr>
              <a:t>торговая точка 1199 «не сформировала» контрольную группу</a:t>
            </a:r>
          </a:p>
          <a:p>
            <a:pPr lvl="0">
              <a:lnSpc>
                <a:spcPct val="70000"/>
              </a:lnSpc>
            </a:pPr>
            <a:endParaRPr lang="ru-RU" dirty="0">
              <a:latin typeface="Fira Sans" panose="020B060402020202020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FAD95C-B980-42BE-A447-17C33B8F61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2552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FAD95C-B980-42BE-A447-17C33B8F6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360B4-6DDB-49DE-9505-4ECA20801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Результаты эксперимента в целом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2E319F2-EED5-D52C-9C9C-326F837A4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742375"/>
            <a:ext cx="7953375" cy="404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1123;p20">
            <a:extLst>
              <a:ext uri="{FF2B5EF4-FFF2-40B4-BE49-F238E27FC236}">
                <a16:creationId xmlns:a16="http://schemas.microsoft.com/office/drawing/2014/main" id="{06CD447B-2F28-4966-B9E6-5430CE05907C}"/>
              </a:ext>
            </a:extLst>
          </p:cNvPr>
          <p:cNvSpPr txBox="1"/>
          <p:nvPr/>
        </p:nvSpPr>
        <p:spPr>
          <a:xfrm>
            <a:off x="4974956" y="1470581"/>
            <a:ext cx="3711844" cy="18305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dk1"/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По данным графика, можем сделать вывод о том, что результаты классической и тестовой акции </a:t>
            </a:r>
            <a:r>
              <a:rPr lang="ru-RU" sz="1200" b="1" dirty="0">
                <a:solidFill>
                  <a:schemeClr val="dk1"/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не равны</a:t>
            </a:r>
            <a:r>
              <a:rPr lang="ru-RU" sz="1200" dirty="0">
                <a:solidFill>
                  <a:schemeClr val="dk1"/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. Количество клиентов совершивших покупку на тестовых условия больше, чем клиентов покупающих по классическим условиям.</a:t>
            </a:r>
            <a:endParaRPr sz="1200" dirty="0"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955943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CCD79465-F476-0BD0-274D-43F527174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817" y="918265"/>
            <a:ext cx="3960000" cy="2015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506667BD-AAD0-046C-B5D5-40734C1022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184" y="918719"/>
            <a:ext cx="3960000" cy="2030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128DD60A-359D-A2B9-EE80-23490D3116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184" y="3074592"/>
            <a:ext cx="3960000" cy="2030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1A60D7-7236-4A3F-81E2-94F20ACFA2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035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1A60D7-7236-4A3F-81E2-94F20ACFA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9F3BAD-C477-46D2-A232-301E904F1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Результаты эксперимента в разрезе торговых точек</a:t>
            </a:r>
          </a:p>
        </p:txBody>
      </p:sp>
      <p:sp>
        <p:nvSpPr>
          <p:cNvPr id="14" name="Google Shape;1123;p20">
            <a:extLst>
              <a:ext uri="{FF2B5EF4-FFF2-40B4-BE49-F238E27FC236}">
                <a16:creationId xmlns:a16="http://schemas.microsoft.com/office/drawing/2014/main" id="{9729D62F-80A8-4123-A026-8A4CC9B22A20}"/>
              </a:ext>
            </a:extLst>
          </p:cNvPr>
          <p:cNvSpPr txBox="1"/>
          <p:nvPr/>
        </p:nvSpPr>
        <p:spPr>
          <a:xfrm>
            <a:off x="457200" y="661624"/>
            <a:ext cx="4051617" cy="450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bg1">
                    <a:lumMod val="65000"/>
                  </a:schemeClr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Торговая точка №1178</a:t>
            </a:r>
            <a:endParaRPr sz="1200" b="1" dirty="0">
              <a:solidFill>
                <a:schemeClr val="bg1">
                  <a:lumMod val="65000"/>
                </a:schemeClr>
              </a:solidFill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  <p:sp>
        <p:nvSpPr>
          <p:cNvPr id="21" name="Google Shape;1123;p20">
            <a:extLst>
              <a:ext uri="{FF2B5EF4-FFF2-40B4-BE49-F238E27FC236}">
                <a16:creationId xmlns:a16="http://schemas.microsoft.com/office/drawing/2014/main" id="{1DA89F3E-CB02-4452-A02A-AA1A0DF23C60}"/>
              </a:ext>
            </a:extLst>
          </p:cNvPr>
          <p:cNvSpPr txBox="1"/>
          <p:nvPr/>
        </p:nvSpPr>
        <p:spPr>
          <a:xfrm>
            <a:off x="4635182" y="661624"/>
            <a:ext cx="3959999" cy="450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bg1">
                    <a:lumMod val="65000"/>
                  </a:schemeClr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Торговая точка №1179</a:t>
            </a:r>
            <a:endParaRPr sz="1200" b="1" dirty="0">
              <a:solidFill>
                <a:schemeClr val="bg1">
                  <a:lumMod val="65000"/>
                </a:schemeClr>
              </a:solidFill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  <p:sp>
        <p:nvSpPr>
          <p:cNvPr id="22" name="Google Shape;1123;p20">
            <a:extLst>
              <a:ext uri="{FF2B5EF4-FFF2-40B4-BE49-F238E27FC236}">
                <a16:creationId xmlns:a16="http://schemas.microsoft.com/office/drawing/2014/main" id="{16C95964-CA28-436D-BF43-88E4DE53112D}"/>
              </a:ext>
            </a:extLst>
          </p:cNvPr>
          <p:cNvSpPr txBox="1"/>
          <p:nvPr/>
        </p:nvSpPr>
        <p:spPr>
          <a:xfrm>
            <a:off x="4621620" y="2822092"/>
            <a:ext cx="3959999" cy="450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bg1">
                    <a:lumMod val="65000"/>
                  </a:schemeClr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Торговая точка №1182</a:t>
            </a:r>
            <a:endParaRPr sz="1200" b="1" dirty="0">
              <a:solidFill>
                <a:schemeClr val="bg1">
                  <a:lumMod val="65000"/>
                </a:schemeClr>
              </a:solidFill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  <p:sp>
        <p:nvSpPr>
          <p:cNvPr id="23" name="Google Shape;1123;p20">
            <a:extLst>
              <a:ext uri="{FF2B5EF4-FFF2-40B4-BE49-F238E27FC236}">
                <a16:creationId xmlns:a16="http://schemas.microsoft.com/office/drawing/2014/main" id="{EB8798FA-866D-4718-B809-A57D091D3D2E}"/>
              </a:ext>
            </a:extLst>
          </p:cNvPr>
          <p:cNvSpPr txBox="1"/>
          <p:nvPr/>
        </p:nvSpPr>
        <p:spPr>
          <a:xfrm>
            <a:off x="232222" y="3153875"/>
            <a:ext cx="4389398" cy="1794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chemeClr val="dk1"/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По данным графика, можем сделать вывод о том, результаты по точкам 1178 и 1179 сопоставимы и введение новых условий акций не повлияли на увеличение продаж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chemeClr val="dk1"/>
                </a:solidFill>
                <a:latin typeface="Fira Sans" panose="020B0604020202020204" charset="0"/>
                <a:ea typeface="Roboto"/>
                <a:cs typeface="Roboto"/>
                <a:sym typeface="Roboto"/>
              </a:rPr>
              <a:t>В тоже время, по торговой точке 1182 заметна разница, но незначительна. Клиенты попавшие в тестовую группу совершали покупок больше, но сумма покупки была в диапазоне от 2 тыс. до 5 тыс. </a:t>
            </a:r>
          </a:p>
          <a:p>
            <a:pPr lvl="0"/>
            <a:r>
              <a:rPr lang="ru-RU" sz="1100" dirty="0">
                <a:latin typeface="Fira Sans" panose="020B0604020202020204" charset="0"/>
                <a:ea typeface="Roboto"/>
                <a:cs typeface="Roboto"/>
                <a:sym typeface="Roboto"/>
              </a:rPr>
              <a:t>В целом, считаем, что </a:t>
            </a:r>
            <a:r>
              <a:rPr lang="en-US" sz="1100" dirty="0">
                <a:latin typeface="Fira Sans" panose="020B0604020202020204" charset="0"/>
                <a:ea typeface="Roboto"/>
                <a:cs typeface="Roboto"/>
                <a:sym typeface="Roboto"/>
              </a:rPr>
              <a:t>A/B</a:t>
            </a:r>
            <a:r>
              <a:rPr lang="ru-RU" sz="1100" dirty="0">
                <a:latin typeface="Fira Sans" panose="020B0604020202020204" charset="0"/>
                <a:ea typeface="Roboto"/>
                <a:cs typeface="Roboto"/>
                <a:sym typeface="Roboto"/>
              </a:rPr>
              <a:t> не удался. Данные статистически различны только в одной торговой точке, и она не выходит на безубыточность теста, если принять метрику как значение среднего минус 1000, получается минус 92 у.е., то есть даже в этой точке у нас общий убыток. </a:t>
            </a:r>
            <a:endParaRPr sz="1100" dirty="0"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469904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3F62DD-1DE8-428C-9925-FCCD7BE7DA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1616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3F62DD-1DE8-428C-9925-FCCD7BE7DA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7" name="Google Shape;1157;p22"/>
          <p:cNvSpPr/>
          <p:nvPr/>
        </p:nvSpPr>
        <p:spPr>
          <a:xfrm>
            <a:off x="770900" y="1175725"/>
            <a:ext cx="2308500" cy="3556200"/>
          </a:xfrm>
          <a:prstGeom prst="roundRect">
            <a:avLst>
              <a:gd name="adj" fmla="val 10946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0" name="Google Shape;1160;p22"/>
          <p:cNvSpPr/>
          <p:nvPr/>
        </p:nvSpPr>
        <p:spPr>
          <a:xfrm>
            <a:off x="3757600" y="3271063"/>
            <a:ext cx="1980300" cy="1461012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1" name="Google Shape;1161;p22"/>
          <p:cNvSpPr/>
          <p:nvPr/>
        </p:nvSpPr>
        <p:spPr>
          <a:xfrm>
            <a:off x="6307660" y="1899708"/>
            <a:ext cx="1980300" cy="1951785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2" name="Google Shape;1162;p22"/>
          <p:cNvSpPr/>
          <p:nvPr/>
        </p:nvSpPr>
        <p:spPr>
          <a:xfrm>
            <a:off x="3757600" y="1175724"/>
            <a:ext cx="1980300" cy="1951785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63" name="Google Shape;1163;p22"/>
          <p:cNvSpPr txBox="1">
            <a:spLocks noGrp="1"/>
          </p:cNvSpPr>
          <p:nvPr>
            <p:ph type="title"/>
          </p:nvPr>
        </p:nvSpPr>
        <p:spPr>
          <a:xfrm>
            <a:off x="457200" y="411475"/>
            <a:ext cx="8229600" cy="33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400" dirty="0">
                <a:solidFill>
                  <a:schemeClr val="dk1"/>
                </a:solidFill>
              </a:rPr>
              <a:t>Вывод по результатам теста в разрезе торговых точек</a:t>
            </a:r>
            <a:endParaRPr sz="2400" dirty="0">
              <a:solidFill>
                <a:schemeClr val="dk1"/>
              </a:solidFill>
            </a:endParaRPr>
          </a:p>
        </p:txBody>
      </p:sp>
      <p:sp>
        <p:nvSpPr>
          <p:cNvPr id="1164" name="Google Shape;1164;p22"/>
          <p:cNvSpPr txBox="1"/>
          <p:nvPr/>
        </p:nvSpPr>
        <p:spPr>
          <a:xfrm>
            <a:off x="3987993" y="1162499"/>
            <a:ext cx="10014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Причина</a:t>
            </a:r>
            <a:r>
              <a:rPr lang="en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 1</a:t>
            </a:r>
            <a:endParaRPr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1166" name="Google Shape;1166;p22"/>
          <p:cNvSpPr txBox="1"/>
          <p:nvPr/>
        </p:nvSpPr>
        <p:spPr>
          <a:xfrm>
            <a:off x="3975766" y="2013570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>
              <a:lnSpc>
                <a:spcPct val="70000"/>
              </a:lnSpc>
            </a:pPr>
            <a:r>
              <a:rPr lang="ru-RU" dirty="0" err="1">
                <a:latin typeface="Fira Sans" panose="020B0604020202020204" charset="0"/>
              </a:rPr>
              <a:t>Региональность</a:t>
            </a:r>
            <a:r>
              <a:rPr lang="ru-RU" dirty="0">
                <a:latin typeface="Fira Sans" panose="020B0604020202020204" charset="0"/>
              </a:rPr>
              <a:t> торговой точки</a:t>
            </a:r>
          </a:p>
          <a:p>
            <a:pPr lvl="0">
              <a:lnSpc>
                <a:spcPct val="70000"/>
              </a:lnSpc>
            </a:pPr>
            <a:endParaRPr lang="ru-RU" dirty="0">
              <a:latin typeface="Fira Sans" panose="020B0604020202020204" charset="0"/>
            </a:endParaRPr>
          </a:p>
          <a:p>
            <a:pPr lvl="0">
              <a:lnSpc>
                <a:spcPct val="70000"/>
              </a:lnSpc>
            </a:pPr>
            <a:r>
              <a:rPr lang="ru-RU" dirty="0">
                <a:latin typeface="Fira Sans" panose="020B0604020202020204" charset="0"/>
              </a:rPr>
              <a:t>- На сколько товар востребован в данном регионе?</a:t>
            </a:r>
          </a:p>
          <a:p>
            <a:pPr lvl="0">
              <a:lnSpc>
                <a:spcPct val="70000"/>
              </a:lnSpc>
            </a:pPr>
            <a:endParaRPr lang="ru-RU" dirty="0">
              <a:latin typeface="Fira Sans" panose="020B0604020202020204" charset="0"/>
            </a:endParaRPr>
          </a:p>
          <a:p>
            <a:pPr lvl="0">
              <a:lnSpc>
                <a:spcPct val="70000"/>
              </a:lnSpc>
            </a:pPr>
            <a:r>
              <a:rPr lang="ru-RU" dirty="0">
                <a:latin typeface="Fira Sans" panose="020B0604020202020204" charset="0"/>
              </a:rPr>
              <a:t>- Уровень платежеспособности клиентов в данном регионе?</a:t>
            </a:r>
          </a:p>
          <a:p>
            <a:pPr lvl="0">
              <a:lnSpc>
                <a:spcPct val="70000"/>
              </a:lnSpc>
            </a:pPr>
            <a:endParaRPr sz="1200" dirty="0">
              <a:solidFill>
                <a:srgbClr val="000000"/>
              </a:solidFill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  <p:sp>
        <p:nvSpPr>
          <p:cNvPr id="1174" name="Google Shape;1174;p22"/>
          <p:cNvSpPr/>
          <p:nvPr/>
        </p:nvSpPr>
        <p:spPr>
          <a:xfrm>
            <a:off x="3440775" y="1441775"/>
            <a:ext cx="571800" cy="571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75" name="Google Shape;1175;p22"/>
          <p:cNvGrpSpPr/>
          <p:nvPr/>
        </p:nvGrpSpPr>
        <p:grpSpPr>
          <a:xfrm>
            <a:off x="3548859" y="1559558"/>
            <a:ext cx="355641" cy="340151"/>
            <a:chOff x="5049750" y="832600"/>
            <a:chExt cx="505100" cy="483100"/>
          </a:xfrm>
        </p:grpSpPr>
        <p:sp>
          <p:nvSpPr>
            <p:cNvPr id="1176" name="Google Shape;1176;p22"/>
            <p:cNvSpPr/>
            <p:nvPr/>
          </p:nvSpPr>
          <p:spPr>
            <a:xfrm>
              <a:off x="5049750" y="832600"/>
              <a:ext cx="505100" cy="483100"/>
            </a:xfrm>
            <a:custGeom>
              <a:avLst/>
              <a:gdLst/>
              <a:ahLst/>
              <a:cxnLst/>
              <a:rect l="l" t="t" r="r" b="b"/>
              <a:pathLst>
                <a:path w="20204" h="19324" extrusionOk="0">
                  <a:moveTo>
                    <a:pt x="12136" y="1129"/>
                  </a:moveTo>
                  <a:cubicBezTo>
                    <a:pt x="13730" y="1129"/>
                    <a:pt x="15325" y="1737"/>
                    <a:pt x="16538" y="2952"/>
                  </a:cubicBezTo>
                  <a:cubicBezTo>
                    <a:pt x="18969" y="5383"/>
                    <a:pt x="18969" y="9323"/>
                    <a:pt x="16538" y="11757"/>
                  </a:cubicBezTo>
                  <a:cubicBezTo>
                    <a:pt x="15341" y="12950"/>
                    <a:pt x="13747" y="13579"/>
                    <a:pt x="12129" y="13579"/>
                  </a:cubicBezTo>
                  <a:cubicBezTo>
                    <a:pt x="11233" y="13579"/>
                    <a:pt x="10329" y="13386"/>
                    <a:pt x="9482" y="12989"/>
                  </a:cubicBezTo>
                  <a:cubicBezTo>
                    <a:pt x="9461" y="12980"/>
                    <a:pt x="9440" y="12968"/>
                    <a:pt x="9419" y="12959"/>
                  </a:cubicBezTo>
                  <a:cubicBezTo>
                    <a:pt x="8794" y="12657"/>
                    <a:pt x="8223" y="12249"/>
                    <a:pt x="7734" y="11757"/>
                  </a:cubicBezTo>
                  <a:cubicBezTo>
                    <a:pt x="5306" y="9329"/>
                    <a:pt x="5306" y="5380"/>
                    <a:pt x="7734" y="2952"/>
                  </a:cubicBezTo>
                  <a:cubicBezTo>
                    <a:pt x="8948" y="1737"/>
                    <a:pt x="10542" y="1129"/>
                    <a:pt x="12136" y="1129"/>
                  </a:cubicBezTo>
                  <a:close/>
                  <a:moveTo>
                    <a:pt x="5871" y="11216"/>
                  </a:moveTo>
                  <a:cubicBezTo>
                    <a:pt x="6475" y="12195"/>
                    <a:pt x="7296" y="13016"/>
                    <a:pt x="8271" y="13620"/>
                  </a:cubicBezTo>
                  <a:lnTo>
                    <a:pt x="7734" y="14160"/>
                  </a:lnTo>
                  <a:cubicBezTo>
                    <a:pt x="7622" y="14271"/>
                    <a:pt x="7477" y="14326"/>
                    <a:pt x="7332" y="14326"/>
                  </a:cubicBezTo>
                  <a:cubicBezTo>
                    <a:pt x="7188" y="14326"/>
                    <a:pt x="7044" y="14271"/>
                    <a:pt x="6934" y="14160"/>
                  </a:cubicBezTo>
                  <a:lnTo>
                    <a:pt x="5330" y="12557"/>
                  </a:lnTo>
                  <a:cubicBezTo>
                    <a:pt x="5110" y="12337"/>
                    <a:pt x="5110" y="11977"/>
                    <a:pt x="5330" y="11757"/>
                  </a:cubicBezTo>
                  <a:lnTo>
                    <a:pt x="5871" y="11216"/>
                  </a:lnTo>
                  <a:close/>
                  <a:moveTo>
                    <a:pt x="4932" y="13762"/>
                  </a:moveTo>
                  <a:lnTo>
                    <a:pt x="5732" y="14562"/>
                  </a:lnTo>
                  <a:lnTo>
                    <a:pt x="4932" y="15362"/>
                  </a:lnTo>
                  <a:lnTo>
                    <a:pt x="4131" y="14562"/>
                  </a:lnTo>
                  <a:lnTo>
                    <a:pt x="4932" y="13762"/>
                  </a:lnTo>
                  <a:close/>
                  <a:moveTo>
                    <a:pt x="3328" y="15362"/>
                  </a:moveTo>
                  <a:lnTo>
                    <a:pt x="4128" y="16162"/>
                  </a:lnTo>
                  <a:lnTo>
                    <a:pt x="2268" y="18025"/>
                  </a:lnTo>
                  <a:cubicBezTo>
                    <a:pt x="2157" y="18135"/>
                    <a:pt x="2013" y="18190"/>
                    <a:pt x="1868" y="18190"/>
                  </a:cubicBezTo>
                  <a:cubicBezTo>
                    <a:pt x="1723" y="18190"/>
                    <a:pt x="1577" y="18134"/>
                    <a:pt x="1465" y="18022"/>
                  </a:cubicBezTo>
                  <a:cubicBezTo>
                    <a:pt x="1245" y="17802"/>
                    <a:pt x="1245" y="17443"/>
                    <a:pt x="1465" y="17222"/>
                  </a:cubicBezTo>
                  <a:lnTo>
                    <a:pt x="3328" y="15362"/>
                  </a:lnTo>
                  <a:close/>
                  <a:moveTo>
                    <a:pt x="12135" y="1"/>
                  </a:moveTo>
                  <a:cubicBezTo>
                    <a:pt x="10250" y="1"/>
                    <a:pt x="8365" y="718"/>
                    <a:pt x="6931" y="2152"/>
                  </a:cubicBezTo>
                  <a:cubicBezTo>
                    <a:pt x="4769" y="4311"/>
                    <a:pt x="4237" y="7493"/>
                    <a:pt x="5330" y="10157"/>
                  </a:cubicBezTo>
                  <a:lnTo>
                    <a:pt x="4527" y="10957"/>
                  </a:lnTo>
                  <a:cubicBezTo>
                    <a:pt x="4020" y="11467"/>
                    <a:pt x="3887" y="12240"/>
                    <a:pt x="4198" y="12892"/>
                  </a:cubicBezTo>
                  <a:lnTo>
                    <a:pt x="665" y="16422"/>
                  </a:lnTo>
                  <a:cubicBezTo>
                    <a:pt x="1" y="17086"/>
                    <a:pt x="1" y="18161"/>
                    <a:pt x="665" y="18825"/>
                  </a:cubicBezTo>
                  <a:cubicBezTo>
                    <a:pt x="996" y="19158"/>
                    <a:pt x="1431" y="19324"/>
                    <a:pt x="1865" y="19324"/>
                  </a:cubicBezTo>
                  <a:cubicBezTo>
                    <a:pt x="2300" y="19324"/>
                    <a:pt x="2735" y="19158"/>
                    <a:pt x="3066" y="18825"/>
                  </a:cubicBezTo>
                  <a:lnTo>
                    <a:pt x="6598" y="15293"/>
                  </a:lnTo>
                  <a:cubicBezTo>
                    <a:pt x="6831" y="15403"/>
                    <a:pt x="7081" y="15457"/>
                    <a:pt x="7328" y="15457"/>
                  </a:cubicBezTo>
                  <a:cubicBezTo>
                    <a:pt x="7770" y="15457"/>
                    <a:pt x="8206" y="15286"/>
                    <a:pt x="8531" y="14961"/>
                  </a:cubicBezTo>
                  <a:lnTo>
                    <a:pt x="9331" y="14163"/>
                  </a:lnTo>
                  <a:cubicBezTo>
                    <a:pt x="10241" y="14538"/>
                    <a:pt x="11190" y="14717"/>
                    <a:pt x="12127" y="14717"/>
                  </a:cubicBezTo>
                  <a:cubicBezTo>
                    <a:pt x="14530" y="14717"/>
                    <a:pt x="16858" y="13537"/>
                    <a:pt x="18256" y="11437"/>
                  </a:cubicBezTo>
                  <a:cubicBezTo>
                    <a:pt x="20204" y="8520"/>
                    <a:pt x="19821" y="4631"/>
                    <a:pt x="17342" y="2152"/>
                  </a:cubicBezTo>
                  <a:cubicBezTo>
                    <a:pt x="15906" y="718"/>
                    <a:pt x="14020" y="1"/>
                    <a:pt x="1213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1177" name="Google Shape;1177;p22"/>
            <p:cNvSpPr/>
            <p:nvPr/>
          </p:nvSpPr>
          <p:spPr>
            <a:xfrm>
              <a:off x="5216725" y="889175"/>
              <a:ext cx="276000" cy="254400"/>
            </a:xfrm>
            <a:custGeom>
              <a:avLst/>
              <a:gdLst/>
              <a:ahLst/>
              <a:cxnLst/>
              <a:rect l="l" t="t" r="r" b="b"/>
              <a:pathLst>
                <a:path w="11040" h="10176" extrusionOk="0">
                  <a:moveTo>
                    <a:pt x="5456" y="1133"/>
                  </a:moveTo>
                  <a:cubicBezTo>
                    <a:pt x="6487" y="1133"/>
                    <a:pt x="7500" y="1535"/>
                    <a:pt x="8259" y="2293"/>
                  </a:cubicBezTo>
                  <a:cubicBezTo>
                    <a:pt x="9802" y="3839"/>
                    <a:pt x="9802" y="6348"/>
                    <a:pt x="8259" y="7897"/>
                  </a:cubicBezTo>
                  <a:cubicBezTo>
                    <a:pt x="7501" y="8653"/>
                    <a:pt x="6489" y="9055"/>
                    <a:pt x="5460" y="9055"/>
                  </a:cubicBezTo>
                  <a:cubicBezTo>
                    <a:pt x="4948" y="9055"/>
                    <a:pt x="4433" y="8956"/>
                    <a:pt x="3941" y="8751"/>
                  </a:cubicBezTo>
                  <a:cubicBezTo>
                    <a:pt x="2462" y="8138"/>
                    <a:pt x="1499" y="6695"/>
                    <a:pt x="1499" y="5095"/>
                  </a:cubicBezTo>
                  <a:cubicBezTo>
                    <a:pt x="1499" y="3491"/>
                    <a:pt x="2462" y="2048"/>
                    <a:pt x="3941" y="1435"/>
                  </a:cubicBezTo>
                  <a:cubicBezTo>
                    <a:pt x="4431" y="1232"/>
                    <a:pt x="4946" y="1133"/>
                    <a:pt x="5456" y="1133"/>
                  </a:cubicBezTo>
                  <a:close/>
                  <a:moveTo>
                    <a:pt x="5468" y="1"/>
                  </a:moveTo>
                  <a:cubicBezTo>
                    <a:pt x="5465" y="1"/>
                    <a:pt x="5461" y="1"/>
                    <a:pt x="5457" y="1"/>
                  </a:cubicBezTo>
                  <a:cubicBezTo>
                    <a:pt x="3029" y="4"/>
                    <a:pt x="943" y="1719"/>
                    <a:pt x="472" y="4098"/>
                  </a:cubicBezTo>
                  <a:cubicBezTo>
                    <a:pt x="1" y="6481"/>
                    <a:pt x="1275" y="8860"/>
                    <a:pt x="3519" y="9787"/>
                  </a:cubicBezTo>
                  <a:cubicBezTo>
                    <a:pt x="4151" y="10049"/>
                    <a:pt x="4811" y="10175"/>
                    <a:pt x="5463" y="10175"/>
                  </a:cubicBezTo>
                  <a:cubicBezTo>
                    <a:pt x="7120" y="10175"/>
                    <a:pt x="8725" y="9362"/>
                    <a:pt x="9693" y="7912"/>
                  </a:cubicBezTo>
                  <a:cubicBezTo>
                    <a:pt x="11040" y="5895"/>
                    <a:pt x="10774" y="3207"/>
                    <a:pt x="9059" y="1492"/>
                  </a:cubicBezTo>
                  <a:cubicBezTo>
                    <a:pt x="8108" y="535"/>
                    <a:pt x="6814" y="1"/>
                    <a:pt x="5468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sp>
        <p:nvSpPr>
          <p:cNvPr id="1178" name="Google Shape;1178;p22"/>
          <p:cNvSpPr/>
          <p:nvPr/>
        </p:nvSpPr>
        <p:spPr>
          <a:xfrm>
            <a:off x="6064600" y="2014967"/>
            <a:ext cx="571800" cy="5718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9" name="Google Shape;1179;p22"/>
          <p:cNvSpPr/>
          <p:nvPr/>
        </p:nvSpPr>
        <p:spPr>
          <a:xfrm>
            <a:off x="3443558" y="3523550"/>
            <a:ext cx="571800" cy="5718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1" name="Google Shape;1191;p22"/>
          <p:cNvSpPr/>
          <p:nvPr/>
        </p:nvSpPr>
        <p:spPr>
          <a:xfrm>
            <a:off x="6215724" y="2122558"/>
            <a:ext cx="356602" cy="356617"/>
          </a:xfrm>
          <a:custGeom>
            <a:avLst/>
            <a:gdLst/>
            <a:ahLst/>
            <a:cxnLst/>
            <a:rect l="l" t="t" r="r" b="b"/>
            <a:pathLst>
              <a:path w="11689" h="11657" extrusionOk="0">
                <a:moveTo>
                  <a:pt x="5860" y="662"/>
                </a:moveTo>
                <a:cubicBezTo>
                  <a:pt x="6080" y="662"/>
                  <a:pt x="6238" y="851"/>
                  <a:pt x="6238" y="1040"/>
                </a:cubicBezTo>
                <a:lnTo>
                  <a:pt x="6238" y="1386"/>
                </a:lnTo>
                <a:lnTo>
                  <a:pt x="756" y="1386"/>
                </a:lnTo>
                <a:lnTo>
                  <a:pt x="756" y="1040"/>
                </a:lnTo>
                <a:cubicBezTo>
                  <a:pt x="725" y="851"/>
                  <a:pt x="882" y="662"/>
                  <a:pt x="1071" y="662"/>
                </a:cubicBezTo>
                <a:close/>
                <a:moveTo>
                  <a:pt x="6175" y="2048"/>
                </a:moveTo>
                <a:lnTo>
                  <a:pt x="6175" y="3686"/>
                </a:lnTo>
                <a:cubicBezTo>
                  <a:pt x="5639" y="3686"/>
                  <a:pt x="5198" y="4096"/>
                  <a:pt x="5198" y="4663"/>
                </a:cubicBezTo>
                <a:cubicBezTo>
                  <a:pt x="4820" y="4694"/>
                  <a:pt x="4505" y="4883"/>
                  <a:pt x="4348" y="5261"/>
                </a:cubicBezTo>
                <a:lnTo>
                  <a:pt x="3592" y="4505"/>
                </a:lnTo>
                <a:cubicBezTo>
                  <a:pt x="3403" y="4300"/>
                  <a:pt x="3135" y="4198"/>
                  <a:pt x="2867" y="4198"/>
                </a:cubicBezTo>
                <a:cubicBezTo>
                  <a:pt x="2599" y="4198"/>
                  <a:pt x="2331" y="4300"/>
                  <a:pt x="2142" y="4505"/>
                </a:cubicBezTo>
                <a:cubicBezTo>
                  <a:pt x="1733" y="4883"/>
                  <a:pt x="1733" y="5576"/>
                  <a:pt x="2142" y="5954"/>
                </a:cubicBezTo>
                <a:lnTo>
                  <a:pt x="4505" y="8317"/>
                </a:lnTo>
                <a:lnTo>
                  <a:pt x="4316" y="8317"/>
                </a:lnTo>
                <a:cubicBezTo>
                  <a:pt x="3875" y="8317"/>
                  <a:pt x="3466" y="8601"/>
                  <a:pt x="3308" y="9042"/>
                </a:cubicBezTo>
                <a:lnTo>
                  <a:pt x="725" y="9042"/>
                </a:lnTo>
                <a:lnTo>
                  <a:pt x="725" y="8979"/>
                </a:lnTo>
                <a:lnTo>
                  <a:pt x="725" y="2048"/>
                </a:lnTo>
                <a:close/>
                <a:moveTo>
                  <a:pt x="7640" y="3907"/>
                </a:moveTo>
                <a:cubicBezTo>
                  <a:pt x="7727" y="3907"/>
                  <a:pt x="7813" y="3938"/>
                  <a:pt x="7876" y="4001"/>
                </a:cubicBezTo>
                <a:lnTo>
                  <a:pt x="8664" y="4789"/>
                </a:lnTo>
                <a:cubicBezTo>
                  <a:pt x="9325" y="5450"/>
                  <a:pt x="9861" y="6238"/>
                  <a:pt x="10113" y="7026"/>
                </a:cubicBezTo>
                <a:lnTo>
                  <a:pt x="7530" y="9609"/>
                </a:lnTo>
                <a:lnTo>
                  <a:pt x="4222" y="9609"/>
                </a:lnTo>
                <a:cubicBezTo>
                  <a:pt x="4033" y="9609"/>
                  <a:pt x="3875" y="9451"/>
                  <a:pt x="3875" y="9262"/>
                </a:cubicBezTo>
                <a:cubicBezTo>
                  <a:pt x="3875" y="9073"/>
                  <a:pt x="4033" y="8916"/>
                  <a:pt x="4222" y="8916"/>
                </a:cubicBezTo>
                <a:lnTo>
                  <a:pt x="5230" y="8916"/>
                </a:lnTo>
                <a:cubicBezTo>
                  <a:pt x="5387" y="8916"/>
                  <a:pt x="5513" y="8821"/>
                  <a:pt x="5545" y="8695"/>
                </a:cubicBezTo>
                <a:cubicBezTo>
                  <a:pt x="5608" y="8601"/>
                  <a:pt x="5608" y="8443"/>
                  <a:pt x="5482" y="8349"/>
                </a:cubicBezTo>
                <a:lnTo>
                  <a:pt x="2520" y="5387"/>
                </a:lnTo>
                <a:cubicBezTo>
                  <a:pt x="2394" y="5293"/>
                  <a:pt x="2394" y="5041"/>
                  <a:pt x="2520" y="4915"/>
                </a:cubicBezTo>
                <a:cubicBezTo>
                  <a:pt x="2583" y="4868"/>
                  <a:pt x="2670" y="4844"/>
                  <a:pt x="2757" y="4844"/>
                </a:cubicBezTo>
                <a:cubicBezTo>
                  <a:pt x="2843" y="4844"/>
                  <a:pt x="2930" y="4868"/>
                  <a:pt x="2993" y="4915"/>
                </a:cubicBezTo>
                <a:lnTo>
                  <a:pt x="4442" y="6395"/>
                </a:lnTo>
                <a:lnTo>
                  <a:pt x="5450" y="7372"/>
                </a:lnTo>
                <a:cubicBezTo>
                  <a:pt x="5498" y="7435"/>
                  <a:pt x="5584" y="7467"/>
                  <a:pt x="5675" y="7467"/>
                </a:cubicBezTo>
                <a:cubicBezTo>
                  <a:pt x="5765" y="7467"/>
                  <a:pt x="5860" y="7435"/>
                  <a:pt x="5923" y="7372"/>
                </a:cubicBezTo>
                <a:cubicBezTo>
                  <a:pt x="6017" y="7246"/>
                  <a:pt x="6017" y="7026"/>
                  <a:pt x="5923" y="6900"/>
                </a:cubicBezTo>
                <a:lnTo>
                  <a:pt x="4915" y="5923"/>
                </a:lnTo>
                <a:cubicBezTo>
                  <a:pt x="4820" y="5797"/>
                  <a:pt x="4820" y="5545"/>
                  <a:pt x="4915" y="5450"/>
                </a:cubicBezTo>
                <a:cubicBezTo>
                  <a:pt x="4978" y="5387"/>
                  <a:pt x="5072" y="5356"/>
                  <a:pt x="5163" y="5356"/>
                </a:cubicBezTo>
                <a:cubicBezTo>
                  <a:pt x="5253" y="5356"/>
                  <a:pt x="5340" y="5387"/>
                  <a:pt x="5387" y="5450"/>
                </a:cubicBezTo>
                <a:lnTo>
                  <a:pt x="6396" y="6427"/>
                </a:lnTo>
                <a:cubicBezTo>
                  <a:pt x="6443" y="6490"/>
                  <a:pt x="6529" y="6522"/>
                  <a:pt x="6620" y="6522"/>
                </a:cubicBezTo>
                <a:cubicBezTo>
                  <a:pt x="6711" y="6522"/>
                  <a:pt x="6805" y="6490"/>
                  <a:pt x="6868" y="6427"/>
                </a:cubicBezTo>
                <a:cubicBezTo>
                  <a:pt x="6963" y="6301"/>
                  <a:pt x="6963" y="6080"/>
                  <a:pt x="6868" y="5954"/>
                </a:cubicBezTo>
                <a:lnTo>
                  <a:pt x="5860" y="4978"/>
                </a:lnTo>
                <a:cubicBezTo>
                  <a:pt x="5765" y="4852"/>
                  <a:pt x="5765" y="4631"/>
                  <a:pt x="5860" y="4505"/>
                </a:cubicBezTo>
                <a:cubicBezTo>
                  <a:pt x="5923" y="4442"/>
                  <a:pt x="6017" y="4411"/>
                  <a:pt x="6108" y="4411"/>
                </a:cubicBezTo>
                <a:cubicBezTo>
                  <a:pt x="6199" y="4411"/>
                  <a:pt x="6285" y="4442"/>
                  <a:pt x="6333" y="4505"/>
                </a:cubicBezTo>
                <a:lnTo>
                  <a:pt x="7341" y="5482"/>
                </a:lnTo>
                <a:cubicBezTo>
                  <a:pt x="7388" y="5545"/>
                  <a:pt x="7475" y="5576"/>
                  <a:pt x="7565" y="5576"/>
                </a:cubicBezTo>
                <a:cubicBezTo>
                  <a:pt x="7656" y="5576"/>
                  <a:pt x="7750" y="5545"/>
                  <a:pt x="7813" y="5482"/>
                </a:cubicBezTo>
                <a:cubicBezTo>
                  <a:pt x="7908" y="5356"/>
                  <a:pt x="7908" y="5135"/>
                  <a:pt x="7813" y="5009"/>
                </a:cubicBezTo>
                <a:lnTo>
                  <a:pt x="7341" y="4537"/>
                </a:lnTo>
                <a:cubicBezTo>
                  <a:pt x="7278" y="4348"/>
                  <a:pt x="7278" y="4096"/>
                  <a:pt x="7404" y="4001"/>
                </a:cubicBezTo>
                <a:cubicBezTo>
                  <a:pt x="7467" y="3938"/>
                  <a:pt x="7553" y="3907"/>
                  <a:pt x="7640" y="3907"/>
                </a:cubicBezTo>
                <a:close/>
                <a:moveTo>
                  <a:pt x="10554" y="7624"/>
                </a:moveTo>
                <a:lnTo>
                  <a:pt x="10806" y="7845"/>
                </a:lnTo>
                <a:cubicBezTo>
                  <a:pt x="10964" y="8002"/>
                  <a:pt x="10964" y="8191"/>
                  <a:pt x="10806" y="8317"/>
                </a:cubicBezTo>
                <a:lnTo>
                  <a:pt x="8853" y="10239"/>
                </a:lnTo>
                <a:cubicBezTo>
                  <a:pt x="8806" y="10302"/>
                  <a:pt x="8719" y="10334"/>
                  <a:pt x="8628" y="10334"/>
                </a:cubicBezTo>
                <a:cubicBezTo>
                  <a:pt x="8538" y="10334"/>
                  <a:pt x="8443" y="10302"/>
                  <a:pt x="8380" y="10239"/>
                </a:cubicBezTo>
                <a:lnTo>
                  <a:pt x="8160" y="10019"/>
                </a:lnTo>
                <a:lnTo>
                  <a:pt x="10554" y="7624"/>
                </a:lnTo>
                <a:close/>
                <a:moveTo>
                  <a:pt x="3277" y="9672"/>
                </a:moveTo>
                <a:cubicBezTo>
                  <a:pt x="3434" y="10050"/>
                  <a:pt x="3781" y="10334"/>
                  <a:pt x="4222" y="10334"/>
                </a:cubicBezTo>
                <a:lnTo>
                  <a:pt x="6143" y="10334"/>
                </a:lnTo>
                <a:lnTo>
                  <a:pt x="6143" y="10680"/>
                </a:lnTo>
                <a:lnTo>
                  <a:pt x="6175" y="10680"/>
                </a:lnTo>
                <a:cubicBezTo>
                  <a:pt x="6175" y="10869"/>
                  <a:pt x="6017" y="11027"/>
                  <a:pt x="5828" y="11027"/>
                </a:cubicBezTo>
                <a:lnTo>
                  <a:pt x="1040" y="11027"/>
                </a:lnTo>
                <a:cubicBezTo>
                  <a:pt x="819" y="11027"/>
                  <a:pt x="662" y="10869"/>
                  <a:pt x="662" y="10680"/>
                </a:cubicBezTo>
                <a:lnTo>
                  <a:pt x="662" y="9672"/>
                </a:lnTo>
                <a:close/>
                <a:moveTo>
                  <a:pt x="1040" y="0"/>
                </a:moveTo>
                <a:cubicBezTo>
                  <a:pt x="473" y="0"/>
                  <a:pt x="0" y="473"/>
                  <a:pt x="0" y="1040"/>
                </a:cubicBezTo>
                <a:lnTo>
                  <a:pt x="0" y="10649"/>
                </a:lnTo>
                <a:cubicBezTo>
                  <a:pt x="0" y="11184"/>
                  <a:pt x="473" y="11657"/>
                  <a:pt x="1040" y="11657"/>
                </a:cubicBezTo>
                <a:lnTo>
                  <a:pt x="5828" y="11657"/>
                </a:lnTo>
                <a:cubicBezTo>
                  <a:pt x="6396" y="11657"/>
                  <a:pt x="6868" y="11184"/>
                  <a:pt x="6868" y="10649"/>
                </a:cubicBezTo>
                <a:lnTo>
                  <a:pt x="6868" y="10334"/>
                </a:lnTo>
                <a:lnTo>
                  <a:pt x="7467" y="10334"/>
                </a:lnTo>
                <a:lnTo>
                  <a:pt x="7876" y="10775"/>
                </a:lnTo>
                <a:cubicBezTo>
                  <a:pt x="8081" y="10964"/>
                  <a:pt x="8349" y="11058"/>
                  <a:pt x="8613" y="11058"/>
                </a:cubicBezTo>
                <a:cubicBezTo>
                  <a:pt x="8877" y="11058"/>
                  <a:pt x="9136" y="10964"/>
                  <a:pt x="9325" y="10775"/>
                </a:cubicBezTo>
                <a:lnTo>
                  <a:pt x="11279" y="8821"/>
                </a:lnTo>
                <a:cubicBezTo>
                  <a:pt x="11688" y="8443"/>
                  <a:pt x="11688" y="7782"/>
                  <a:pt x="11310" y="7372"/>
                </a:cubicBezTo>
                <a:lnTo>
                  <a:pt x="10869" y="6931"/>
                </a:lnTo>
                <a:cubicBezTo>
                  <a:pt x="10554" y="6080"/>
                  <a:pt x="10082" y="5261"/>
                  <a:pt x="9420" y="4505"/>
                </a:cubicBezTo>
                <a:lnTo>
                  <a:pt x="8380" y="3466"/>
                </a:lnTo>
                <a:cubicBezTo>
                  <a:pt x="8191" y="3277"/>
                  <a:pt x="7931" y="3182"/>
                  <a:pt x="7668" y="3182"/>
                </a:cubicBezTo>
                <a:cubicBezTo>
                  <a:pt x="7404" y="3182"/>
                  <a:pt x="7136" y="3277"/>
                  <a:pt x="6931" y="3466"/>
                </a:cubicBezTo>
                <a:lnTo>
                  <a:pt x="6868" y="3560"/>
                </a:lnTo>
                <a:lnTo>
                  <a:pt x="6868" y="1040"/>
                </a:lnTo>
                <a:cubicBezTo>
                  <a:pt x="6868" y="473"/>
                  <a:pt x="6396" y="0"/>
                  <a:pt x="5828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2" name="Google Shape;1192;p22"/>
          <p:cNvSpPr/>
          <p:nvPr/>
        </p:nvSpPr>
        <p:spPr>
          <a:xfrm>
            <a:off x="3551146" y="3631145"/>
            <a:ext cx="356602" cy="356609"/>
          </a:xfrm>
          <a:custGeom>
            <a:avLst/>
            <a:gdLst/>
            <a:ahLst/>
            <a:cxnLst/>
            <a:rect l="l" t="t" r="r" b="b"/>
            <a:pathLst>
              <a:path w="11689" h="11694" extrusionOk="0">
                <a:moveTo>
                  <a:pt x="5829" y="2048"/>
                </a:moveTo>
                <a:cubicBezTo>
                  <a:pt x="6018" y="2048"/>
                  <a:pt x="6175" y="2206"/>
                  <a:pt x="6175" y="2395"/>
                </a:cubicBezTo>
                <a:cubicBezTo>
                  <a:pt x="6175" y="2615"/>
                  <a:pt x="6018" y="2804"/>
                  <a:pt x="5829" y="2804"/>
                </a:cubicBezTo>
                <a:cubicBezTo>
                  <a:pt x="5640" y="2804"/>
                  <a:pt x="5482" y="2615"/>
                  <a:pt x="5482" y="2395"/>
                </a:cubicBezTo>
                <a:cubicBezTo>
                  <a:pt x="5482" y="2206"/>
                  <a:pt x="5640" y="2048"/>
                  <a:pt x="5829" y="2048"/>
                </a:cubicBezTo>
                <a:close/>
                <a:moveTo>
                  <a:pt x="5829" y="725"/>
                </a:moveTo>
                <a:cubicBezTo>
                  <a:pt x="6774" y="725"/>
                  <a:pt x="7530" y="1449"/>
                  <a:pt x="7530" y="2395"/>
                </a:cubicBezTo>
                <a:cubicBezTo>
                  <a:pt x="7530" y="2521"/>
                  <a:pt x="7530" y="2678"/>
                  <a:pt x="7467" y="2804"/>
                </a:cubicBezTo>
                <a:lnTo>
                  <a:pt x="6774" y="2804"/>
                </a:lnTo>
                <a:cubicBezTo>
                  <a:pt x="6806" y="2678"/>
                  <a:pt x="6837" y="2552"/>
                  <a:pt x="6837" y="2395"/>
                </a:cubicBezTo>
                <a:cubicBezTo>
                  <a:pt x="6837" y="1859"/>
                  <a:pt x="6364" y="1386"/>
                  <a:pt x="5829" y="1386"/>
                </a:cubicBezTo>
                <a:cubicBezTo>
                  <a:pt x="5262" y="1386"/>
                  <a:pt x="4789" y="1859"/>
                  <a:pt x="4789" y="2395"/>
                </a:cubicBezTo>
                <a:cubicBezTo>
                  <a:pt x="4789" y="2521"/>
                  <a:pt x="4852" y="2678"/>
                  <a:pt x="4884" y="2804"/>
                </a:cubicBezTo>
                <a:lnTo>
                  <a:pt x="4159" y="2804"/>
                </a:lnTo>
                <a:cubicBezTo>
                  <a:pt x="4128" y="2678"/>
                  <a:pt x="4128" y="2521"/>
                  <a:pt x="4128" y="2395"/>
                </a:cubicBezTo>
                <a:cubicBezTo>
                  <a:pt x="4128" y="1449"/>
                  <a:pt x="4884" y="725"/>
                  <a:pt x="5829" y="725"/>
                </a:cubicBezTo>
                <a:close/>
                <a:moveTo>
                  <a:pt x="10681" y="3466"/>
                </a:moveTo>
                <a:cubicBezTo>
                  <a:pt x="10870" y="3466"/>
                  <a:pt x="11027" y="3623"/>
                  <a:pt x="11027" y="3812"/>
                </a:cubicBezTo>
                <a:cubicBezTo>
                  <a:pt x="11027" y="4033"/>
                  <a:pt x="10870" y="4190"/>
                  <a:pt x="10681" y="4190"/>
                </a:cubicBezTo>
                <a:lnTo>
                  <a:pt x="1009" y="4190"/>
                </a:lnTo>
                <a:cubicBezTo>
                  <a:pt x="820" y="4190"/>
                  <a:pt x="662" y="4033"/>
                  <a:pt x="662" y="3812"/>
                </a:cubicBezTo>
                <a:cubicBezTo>
                  <a:pt x="662" y="3623"/>
                  <a:pt x="851" y="3466"/>
                  <a:pt x="1009" y="3466"/>
                </a:cubicBezTo>
                <a:close/>
                <a:moveTo>
                  <a:pt x="9799" y="4852"/>
                </a:moveTo>
                <a:lnTo>
                  <a:pt x="7058" y="7593"/>
                </a:lnTo>
                <a:lnTo>
                  <a:pt x="4600" y="7593"/>
                </a:lnTo>
                <a:lnTo>
                  <a:pt x="1859" y="4852"/>
                </a:lnTo>
                <a:close/>
                <a:moveTo>
                  <a:pt x="6869" y="8255"/>
                </a:moveTo>
                <a:lnTo>
                  <a:pt x="6869" y="9767"/>
                </a:lnTo>
                <a:lnTo>
                  <a:pt x="4789" y="10775"/>
                </a:lnTo>
                <a:lnTo>
                  <a:pt x="4789" y="8255"/>
                </a:lnTo>
                <a:close/>
                <a:moveTo>
                  <a:pt x="5829" y="0"/>
                </a:moveTo>
                <a:cubicBezTo>
                  <a:pt x="4474" y="0"/>
                  <a:pt x="3435" y="1071"/>
                  <a:pt x="3435" y="2395"/>
                </a:cubicBezTo>
                <a:cubicBezTo>
                  <a:pt x="3435" y="2521"/>
                  <a:pt x="3435" y="2678"/>
                  <a:pt x="3466" y="2804"/>
                </a:cubicBezTo>
                <a:lnTo>
                  <a:pt x="1009" y="2804"/>
                </a:lnTo>
                <a:cubicBezTo>
                  <a:pt x="473" y="2804"/>
                  <a:pt x="0" y="3277"/>
                  <a:pt x="0" y="3812"/>
                </a:cubicBezTo>
                <a:cubicBezTo>
                  <a:pt x="0" y="4348"/>
                  <a:pt x="379" y="4757"/>
                  <a:pt x="851" y="4852"/>
                </a:cubicBezTo>
                <a:lnTo>
                  <a:pt x="4096" y="8065"/>
                </a:lnTo>
                <a:lnTo>
                  <a:pt x="4096" y="11342"/>
                </a:lnTo>
                <a:cubicBezTo>
                  <a:pt x="4096" y="11518"/>
                  <a:pt x="4277" y="11694"/>
                  <a:pt x="4462" y="11694"/>
                </a:cubicBezTo>
                <a:cubicBezTo>
                  <a:pt x="4508" y="11694"/>
                  <a:pt x="4556" y="11683"/>
                  <a:pt x="4600" y="11657"/>
                </a:cubicBezTo>
                <a:lnTo>
                  <a:pt x="7373" y="10271"/>
                </a:lnTo>
                <a:cubicBezTo>
                  <a:pt x="7467" y="10239"/>
                  <a:pt x="7562" y="10113"/>
                  <a:pt x="7562" y="9956"/>
                </a:cubicBezTo>
                <a:lnTo>
                  <a:pt x="7562" y="8034"/>
                </a:lnTo>
                <a:lnTo>
                  <a:pt x="10838" y="4820"/>
                </a:lnTo>
                <a:cubicBezTo>
                  <a:pt x="11311" y="4757"/>
                  <a:pt x="11689" y="4348"/>
                  <a:pt x="11689" y="3812"/>
                </a:cubicBezTo>
                <a:cubicBezTo>
                  <a:pt x="11689" y="3277"/>
                  <a:pt x="11216" y="2804"/>
                  <a:pt x="10681" y="2804"/>
                </a:cubicBezTo>
                <a:lnTo>
                  <a:pt x="8192" y="2804"/>
                </a:lnTo>
                <a:cubicBezTo>
                  <a:pt x="8192" y="2678"/>
                  <a:pt x="8223" y="2521"/>
                  <a:pt x="8223" y="2395"/>
                </a:cubicBezTo>
                <a:cubicBezTo>
                  <a:pt x="8223" y="1071"/>
                  <a:pt x="7152" y="0"/>
                  <a:pt x="5829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2" name="Google Shape;1202;p22"/>
          <p:cNvSpPr txBox="1"/>
          <p:nvPr/>
        </p:nvSpPr>
        <p:spPr>
          <a:xfrm>
            <a:off x="770900" y="2466450"/>
            <a:ext cx="23085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r>
              <a:rPr lang="ru-RU" b="1" dirty="0">
                <a:latin typeface="Fira Sans" panose="020B0604020202020204" charset="0"/>
              </a:rPr>
              <a:t>Эксперимент показал, что изменение условий рекламной акции в исследуемых торговых точек не дало положительного результата</a:t>
            </a:r>
          </a:p>
        </p:txBody>
      </p:sp>
      <p:sp>
        <p:nvSpPr>
          <p:cNvPr id="50" name="Google Shape;1164;p22">
            <a:extLst>
              <a:ext uri="{FF2B5EF4-FFF2-40B4-BE49-F238E27FC236}">
                <a16:creationId xmlns:a16="http://schemas.microsoft.com/office/drawing/2014/main" id="{68C0BE1B-BD8C-4BAC-93BA-8BB0D69F8914}"/>
              </a:ext>
            </a:extLst>
          </p:cNvPr>
          <p:cNvSpPr txBox="1"/>
          <p:nvPr/>
        </p:nvSpPr>
        <p:spPr>
          <a:xfrm>
            <a:off x="4071300" y="3259285"/>
            <a:ext cx="10014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Причина</a:t>
            </a:r>
            <a:r>
              <a:rPr lang="en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 </a:t>
            </a:r>
            <a:r>
              <a:rPr lang="ru-RU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2</a:t>
            </a:r>
            <a:endParaRPr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1" name="Google Shape;1166;p22">
            <a:extLst>
              <a:ext uri="{FF2B5EF4-FFF2-40B4-BE49-F238E27FC236}">
                <a16:creationId xmlns:a16="http://schemas.microsoft.com/office/drawing/2014/main" id="{2A5FA6AF-E176-46D0-84D7-E446034CD4F5}"/>
              </a:ext>
            </a:extLst>
          </p:cNvPr>
          <p:cNvSpPr txBox="1"/>
          <p:nvPr/>
        </p:nvSpPr>
        <p:spPr>
          <a:xfrm>
            <a:off x="4026450" y="3717443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>
              <a:lnSpc>
                <a:spcPct val="70000"/>
              </a:lnSpc>
            </a:pPr>
            <a:r>
              <a:rPr lang="ru-RU" dirty="0">
                <a:latin typeface="Fira Sans" panose="020B0604020202020204" charset="0"/>
              </a:rPr>
              <a:t>Возрастная категория клиентов </a:t>
            </a:r>
            <a:r>
              <a:rPr lang="ru-RU" dirty="0">
                <a:latin typeface="Fira Sans" panose="020B0604020202020204" charset="0"/>
                <a:ea typeface="Roboto"/>
                <a:sym typeface="Roboto"/>
              </a:rPr>
              <a:t>по месту нахождения торговой точки</a:t>
            </a:r>
            <a:endParaRPr lang="ru-RU" dirty="0">
              <a:latin typeface="Fira Sans" panose="020B0604020202020204" charset="0"/>
            </a:endParaRPr>
          </a:p>
        </p:txBody>
      </p:sp>
      <p:sp>
        <p:nvSpPr>
          <p:cNvPr id="52" name="Google Shape;1164;p22">
            <a:extLst>
              <a:ext uri="{FF2B5EF4-FFF2-40B4-BE49-F238E27FC236}">
                <a16:creationId xmlns:a16="http://schemas.microsoft.com/office/drawing/2014/main" id="{29B45545-AA5D-467E-8504-65FDA3F8B5CA}"/>
              </a:ext>
            </a:extLst>
          </p:cNvPr>
          <p:cNvSpPr txBox="1"/>
          <p:nvPr/>
        </p:nvSpPr>
        <p:spPr>
          <a:xfrm>
            <a:off x="6735276" y="1899709"/>
            <a:ext cx="1001400" cy="28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Причина</a:t>
            </a:r>
            <a:r>
              <a:rPr lang="en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 </a:t>
            </a:r>
            <a:r>
              <a:rPr lang="ru-RU" b="1" dirty="0">
                <a:solidFill>
                  <a:schemeClr val="dk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3</a:t>
            </a:r>
            <a:endParaRPr b="1" dirty="0"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53" name="Google Shape;1166;p22">
            <a:extLst>
              <a:ext uri="{FF2B5EF4-FFF2-40B4-BE49-F238E27FC236}">
                <a16:creationId xmlns:a16="http://schemas.microsoft.com/office/drawing/2014/main" id="{0F08D904-24E4-4553-BD1C-A9F2BC3942AC}"/>
              </a:ext>
            </a:extLst>
          </p:cNvPr>
          <p:cNvSpPr txBox="1"/>
          <p:nvPr/>
        </p:nvSpPr>
        <p:spPr>
          <a:xfrm>
            <a:off x="6723049" y="2750780"/>
            <a:ext cx="1689900" cy="57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>
              <a:lnSpc>
                <a:spcPct val="70000"/>
              </a:lnSpc>
            </a:pPr>
            <a:r>
              <a:rPr lang="ru-RU" dirty="0">
                <a:latin typeface="Fira Sans" panose="020B0604020202020204" charset="0"/>
              </a:rPr>
              <a:t>Наличие предложений конкурентов</a:t>
            </a:r>
          </a:p>
          <a:p>
            <a:pPr lvl="0">
              <a:lnSpc>
                <a:spcPct val="70000"/>
              </a:lnSpc>
            </a:pPr>
            <a:r>
              <a:rPr lang="ru-RU" dirty="0">
                <a:latin typeface="Fira Sans" panose="020B0604020202020204" charset="0"/>
              </a:rPr>
              <a:t>- Переизбыток предложений товара</a:t>
            </a:r>
          </a:p>
          <a:p>
            <a:pPr lvl="0">
              <a:lnSpc>
                <a:spcPct val="70000"/>
              </a:lnSpc>
            </a:pPr>
            <a:endParaRPr lang="ru-RU" dirty="0">
              <a:latin typeface="Fira Sans" panose="020B0604020202020204" charset="0"/>
            </a:endParaRPr>
          </a:p>
          <a:p>
            <a:pPr lvl="0">
              <a:lnSpc>
                <a:spcPct val="70000"/>
              </a:lnSpc>
            </a:pPr>
            <a:r>
              <a:rPr lang="ru-RU" dirty="0">
                <a:latin typeface="Fira Sans" panose="020B0604020202020204" charset="0"/>
              </a:rPr>
              <a:t>- Более привлекательные условия у конкурентов</a:t>
            </a:r>
          </a:p>
          <a:p>
            <a:pPr lvl="0">
              <a:lnSpc>
                <a:spcPct val="70000"/>
              </a:lnSpc>
            </a:pPr>
            <a:endParaRPr sz="1200" dirty="0">
              <a:solidFill>
                <a:srgbClr val="000000"/>
              </a:solidFill>
              <a:latin typeface="Fira Sans" panose="020B0604020202020204" charset="0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B09A3-1945-42C7-A6AC-8EFAB095CB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326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B09A3-1945-42C7-A6AC-8EFAB095CB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31711B-09F8-415E-A259-2D38C5FED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400" dirty="0"/>
              <a:t>Зависимость между выплаченной суммой и длительностью регистрации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C673B0C7-B9A8-4682-BC98-F8CBB106E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150" y="901486"/>
            <a:ext cx="6743700" cy="3387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Google Shape;1160;p22">
            <a:extLst>
              <a:ext uri="{FF2B5EF4-FFF2-40B4-BE49-F238E27FC236}">
                <a16:creationId xmlns:a16="http://schemas.microsoft.com/office/drawing/2014/main" id="{598B3152-82DA-45AC-B12E-4B5DE1645BF7}"/>
              </a:ext>
            </a:extLst>
          </p:cNvPr>
          <p:cNvSpPr/>
          <p:nvPr/>
        </p:nvSpPr>
        <p:spPr>
          <a:xfrm>
            <a:off x="1290084" y="4289242"/>
            <a:ext cx="6705600" cy="746584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1166;p22">
            <a:extLst>
              <a:ext uri="{FF2B5EF4-FFF2-40B4-BE49-F238E27FC236}">
                <a16:creationId xmlns:a16="http://schemas.microsoft.com/office/drawing/2014/main" id="{D4A058BD-A4EB-465F-A812-86AD0430F85C}"/>
              </a:ext>
            </a:extLst>
          </p:cNvPr>
          <p:cNvSpPr txBox="1"/>
          <p:nvPr/>
        </p:nvSpPr>
        <p:spPr>
          <a:xfrm>
            <a:off x="1481470" y="4443951"/>
            <a:ext cx="6372446" cy="437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>
              <a:lnSpc>
                <a:spcPct val="70000"/>
              </a:lnSpc>
            </a:pPr>
            <a:r>
              <a:rPr lang="ru-RU" dirty="0">
                <a:solidFill>
                  <a:schemeClr val="tx2">
                    <a:lumMod val="25000"/>
                  </a:schemeClr>
                </a:solidFill>
              </a:rPr>
              <a:t>Согласно графику, видно, распределение значение в выборке. Чем больше длительность регистрации, тем больше сумма покупки клиента.</a:t>
            </a:r>
            <a:endParaRPr lang="ru-RU" dirty="0">
              <a:solidFill>
                <a:schemeClr val="tx2">
                  <a:lumMod val="25000"/>
                </a:schemeClr>
              </a:solidFill>
              <a:latin typeface="Fira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23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/B Testing Infographics by Slidesgo">
  <a:themeElements>
    <a:clrScheme name="Simple Light">
      <a:dk1>
        <a:srgbClr val="000000"/>
      </a:dk1>
      <a:lt1>
        <a:srgbClr val="FFFFFF"/>
      </a:lt1>
      <a:dk2>
        <a:srgbClr val="2E323C"/>
      </a:dk2>
      <a:lt2>
        <a:srgbClr val="EEEEED"/>
      </a:lt2>
      <a:accent1>
        <a:srgbClr val="2EC5FF"/>
      </a:accent1>
      <a:accent2>
        <a:srgbClr val="38B4FE"/>
      </a:accent2>
      <a:accent3>
        <a:srgbClr val="42A4FC"/>
      </a:accent3>
      <a:accent4>
        <a:srgbClr val="4B93FB"/>
      </a:accent4>
      <a:accent5>
        <a:srgbClr val="5583F9"/>
      </a:accent5>
      <a:accent6>
        <a:srgbClr val="5F72F8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5</TotalTime>
  <Words>459</Words>
  <Application>Microsoft Office PowerPoint</Application>
  <PresentationFormat>Экран (16:9)</PresentationFormat>
  <Paragraphs>71</Paragraphs>
  <Slides>8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Fira Sans</vt:lpstr>
      <vt:lpstr>Fira Sans Extra Condensed</vt:lpstr>
      <vt:lpstr>Fira Sans Extra Condensed Medium</vt:lpstr>
      <vt:lpstr>Arial</vt:lpstr>
      <vt:lpstr>Arial Unicode MS</vt:lpstr>
      <vt:lpstr>Roboto</vt:lpstr>
      <vt:lpstr>A/B Testing Infographics by Slidesgo</vt:lpstr>
      <vt:lpstr>think-cell Slide</vt:lpstr>
      <vt:lpstr>A/B-тест</vt:lpstr>
      <vt:lpstr>Общая информация</vt:lpstr>
      <vt:lpstr>Разделение клиентов на группы</vt:lpstr>
      <vt:lpstr>Структура данных в разрезе торговых точек</vt:lpstr>
      <vt:lpstr>Результаты эксперимента в целом</vt:lpstr>
      <vt:lpstr>Результаты эксперимента в разрезе торговых точек</vt:lpstr>
      <vt:lpstr>Вывод по результатам теста в разрезе торговых точек</vt:lpstr>
      <vt:lpstr>Зависимость между выплаченной суммой и длительностью регистр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/B Testing Infographics</dc:title>
  <dc:creator>Anna Le</dc:creator>
  <cp:lastModifiedBy>Viktor Orlov</cp:lastModifiedBy>
  <cp:revision>21</cp:revision>
  <dcterms:modified xsi:type="dcterms:W3CDTF">2022-08-22T09:55:08Z</dcterms:modified>
</cp:coreProperties>
</file>